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  <p:sldMasterId id="2147483667" r:id="rId2"/>
  </p:sldMasterIdLst>
  <p:notesMasterIdLst>
    <p:notesMasterId r:id="rId18"/>
  </p:notesMasterIdLst>
  <p:sldIdLst>
    <p:sldId id="8379" r:id="rId3"/>
    <p:sldId id="8377" r:id="rId4"/>
    <p:sldId id="8397" r:id="rId5"/>
    <p:sldId id="8391" r:id="rId6"/>
    <p:sldId id="8392" r:id="rId7"/>
    <p:sldId id="8399" r:id="rId8"/>
    <p:sldId id="8400" r:id="rId9"/>
    <p:sldId id="8398" r:id="rId10"/>
    <p:sldId id="8401" r:id="rId11"/>
    <p:sldId id="8403" r:id="rId12"/>
    <p:sldId id="8405" r:id="rId13"/>
    <p:sldId id="8404" r:id="rId14"/>
    <p:sldId id="8394" r:id="rId15"/>
    <p:sldId id="8395" r:id="rId16"/>
    <p:sldId id="364" r:id="rId17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1" autoAdjust="0"/>
    <p:restoredTop sz="94660"/>
  </p:normalViewPr>
  <p:slideViewPr>
    <p:cSldViewPr snapToObjects="1" showGuides="1">
      <p:cViewPr varScale="1">
        <p:scale>
          <a:sx n="150" d="100"/>
          <a:sy n="150" d="100"/>
        </p:scale>
        <p:origin x="510" y="126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4/3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005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7,6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err="1">
                <a:solidFill>
                  <a:schemeClr val="tx1"/>
                </a:solidFill>
              </a:rPr>
              <a:t>Wenn</a:t>
            </a:r>
            <a:r>
              <a:rPr lang="en-US" sz="900" noProof="0" dirty="0">
                <a:solidFill>
                  <a:schemeClr val="tx1"/>
                </a:solidFill>
              </a:rPr>
              <a:t> Sie </a:t>
            </a:r>
            <a:r>
              <a:rPr lang="en-US" sz="900" noProof="0" dirty="0" err="1">
                <a:solidFill>
                  <a:schemeClr val="tx1"/>
                </a:solidFill>
              </a:rPr>
              <a:t>ei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neues</a:t>
            </a:r>
            <a:r>
              <a:rPr lang="en-US" sz="900" noProof="0" dirty="0">
                <a:solidFill>
                  <a:schemeClr val="tx1"/>
                </a:solidFill>
              </a:rPr>
              <a:t> Bild </a:t>
            </a:r>
            <a:r>
              <a:rPr lang="en-US" sz="900" noProof="0" dirty="0" err="1">
                <a:solidFill>
                  <a:schemeClr val="tx1"/>
                </a:solidFill>
              </a:rPr>
              <a:t>einfügen</a:t>
            </a:r>
            <a:r>
              <a:rPr lang="en-US" sz="900" noProof="0" dirty="0">
                <a:solidFill>
                  <a:schemeClr val="tx1"/>
                </a:solidFill>
              </a:rPr>
              <a:t>: </a:t>
            </a:r>
            <a:r>
              <a:rPr lang="en-US" sz="900" noProof="0" dirty="0" err="1">
                <a:solidFill>
                  <a:schemeClr val="tx1"/>
                </a:solidFill>
              </a:rPr>
              <a:t>Klicken</a:t>
            </a:r>
            <a:r>
              <a:rPr lang="en-US" sz="900" noProof="0" dirty="0">
                <a:solidFill>
                  <a:schemeClr val="tx1"/>
                </a:solidFill>
              </a:rPr>
              <a:t> Sie </a:t>
            </a:r>
            <a:r>
              <a:rPr lang="en-US" sz="900" noProof="0" dirty="0" err="1">
                <a:solidFill>
                  <a:schemeClr val="tx1"/>
                </a:solidFill>
              </a:rPr>
              <a:t>mit</a:t>
            </a:r>
            <a:r>
              <a:rPr lang="en-US" sz="900" noProof="0" dirty="0">
                <a:solidFill>
                  <a:schemeClr val="tx1"/>
                </a:solidFill>
              </a:rPr>
              <a:t> der </a:t>
            </a:r>
            <a:r>
              <a:rPr lang="en-US" sz="900" noProof="0" dirty="0" err="1">
                <a:solidFill>
                  <a:schemeClr val="tx1"/>
                </a:solidFill>
              </a:rPr>
              <a:t>recht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austaste</a:t>
            </a:r>
            <a:r>
              <a:rPr lang="en-US" sz="900" noProof="0" dirty="0">
                <a:solidFill>
                  <a:schemeClr val="tx1"/>
                </a:solidFill>
              </a:rPr>
              <a:t> auf das Bild und </a:t>
            </a:r>
            <a:r>
              <a:rPr lang="en-US" sz="900" noProof="0" dirty="0" err="1">
                <a:solidFill>
                  <a:schemeClr val="tx1"/>
                </a:solidFill>
              </a:rPr>
              <a:t>wählen</a:t>
            </a:r>
            <a:r>
              <a:rPr lang="en-US" sz="900" noProof="0" dirty="0">
                <a:solidFill>
                  <a:schemeClr val="tx1"/>
                </a:solidFill>
              </a:rPr>
              <a:t> „In den </a:t>
            </a:r>
            <a:r>
              <a:rPr lang="en-US" sz="900" noProof="0" dirty="0" err="1">
                <a:solidFill>
                  <a:schemeClr val="tx1"/>
                </a:solidFill>
              </a:rPr>
              <a:t>Hintergrund</a:t>
            </a:r>
            <a:r>
              <a:rPr lang="en-US" sz="900" noProof="0" dirty="0">
                <a:solidFill>
                  <a:schemeClr val="tx1"/>
                </a:solidFill>
              </a:rPr>
              <a:t>“, um das Bild hinter das Quality Seal </a:t>
            </a:r>
            <a:r>
              <a:rPr lang="en-US" sz="900" noProof="0" dirty="0" err="1">
                <a:solidFill>
                  <a:schemeClr val="tx1"/>
                </a:solidFill>
              </a:rPr>
              <a:t>zu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ringen</a:t>
            </a:r>
            <a:r>
              <a:rPr lang="en-US" sz="900" noProof="0" dirty="0">
                <a:solidFill>
                  <a:schemeClr val="tx1"/>
                </a:solidFill>
              </a:rPr>
              <a:t>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5F1328-8865-4437-B9B5-1B98AE42546C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F64C55-3C07-4FCB-9F06-CA7928BDD2EB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44BB05-B6BD-4EAF-8D90-F01B136B4D17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DE66952-8BA7-4545-9894-562BD7F5549F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7E051F-9C00-4D71-9B67-0FF240BFCC4F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EADE39-D176-4F20-980F-C8D999BF5D0B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CAE601-AA0A-4E2D-A23A-B8A0B5331932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8F701C-372F-4C4A-8037-9EE90099ED8D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9" y="141685"/>
            <a:ext cx="8785225" cy="2970609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noProof="0" dirty="0" err="1">
                <a:solidFill>
                  <a:schemeClr val="bg1"/>
                </a:solidFill>
              </a:rPr>
              <a:t>Bitt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200" baseline="0" noProof="0" dirty="0">
                <a:solidFill>
                  <a:schemeClr val="bg1"/>
                </a:solidFill>
              </a:rPr>
              <a:t> die </a:t>
            </a:r>
            <a:r>
              <a:rPr lang="en-US" sz="12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200" baseline="0" noProof="0" dirty="0">
                <a:solidFill>
                  <a:schemeClr val="bg1"/>
                </a:solidFill>
              </a:rPr>
              <a:t> ab</a:t>
            </a:r>
            <a:r>
              <a:rPr lang="en-US" sz="12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200" noProof="0" dirty="0">
                <a:solidFill>
                  <a:schemeClr val="bg1"/>
                </a:solidFill>
              </a:rPr>
              <a:t>Please cover</a:t>
            </a:r>
            <a:r>
              <a:rPr lang="en-US" sz="12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2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200" noProof="0" dirty="0">
                <a:solidFill>
                  <a:schemeClr val="bg1"/>
                </a:solidFill>
              </a:rPr>
              <a:t>(24,4 x 11,0 cm)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"/>
          <a:stretch/>
        </p:blipFill>
        <p:spPr>
          <a:xfrm>
            <a:off x="179513" y="141685"/>
            <a:ext cx="8785101" cy="2970609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03548" y="-425553"/>
            <a:ext cx="8640452" cy="27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35100" rIns="54000" bIns="35100" rtlCol="0" anchor="t" anchorCtr="0"/>
          <a:lstStyle/>
          <a:p>
            <a:r>
              <a:rPr lang="en-US" sz="675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675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911653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300831"/>
            <a:ext cx="8172141" cy="313877"/>
          </a:xfrm>
        </p:spPr>
        <p:txBody>
          <a:bodyPr tIns="0" rIns="0" bIns="0" anchor="t" anchorCtr="0">
            <a:normAutofit/>
          </a:bodyPr>
          <a:lstStyle>
            <a:lvl1pPr algn="l"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560158"/>
            <a:ext cx="8172140" cy="853673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515966"/>
            <a:ext cx="2628590" cy="27661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515966"/>
            <a:ext cx="5075797" cy="27661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3" name="Grafik 12"/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48" y="-1"/>
            <a:ext cx="2555565" cy="978694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5875" cy="978694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6169448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1A14F1-A98B-4B01-AB5C-4EDA8538C6C0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006078"/>
            <a:ext cx="8353425" cy="3401615"/>
          </a:xfrm>
        </p:spPr>
        <p:txBody>
          <a:bodyPr/>
          <a:lstStyle>
            <a:lvl1pPr marL="133350" indent="-1333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406004" indent="-138113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672704" indent="-1333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940594" indent="-134541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12056" indent="-1333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5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10970696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879485"/>
            <a:ext cx="8172140" cy="313877"/>
          </a:xfrm>
        </p:spPr>
        <p:txBody>
          <a:bodyPr tIns="0" rIns="0" bIns="0" anchor="t" anchorCtr="0">
            <a:normAutofit/>
          </a:bodyPr>
          <a:lstStyle>
            <a:lvl1pPr algn="l"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138813"/>
            <a:ext cx="8172140" cy="853673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515966"/>
            <a:ext cx="2628590" cy="27661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515966"/>
            <a:ext cx="5075797" cy="27661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978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17099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9" y="141685"/>
            <a:ext cx="8785225" cy="486013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200" noProof="0" dirty="0" err="1">
                <a:solidFill>
                  <a:schemeClr val="bg1"/>
                </a:solidFill>
              </a:rPr>
              <a:t>Bitt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200" baseline="0" noProof="0" dirty="0">
                <a:solidFill>
                  <a:schemeClr val="bg1"/>
                </a:solidFill>
              </a:rPr>
              <a:t> die </a:t>
            </a:r>
            <a:r>
              <a:rPr lang="en-US" sz="12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200" baseline="0" noProof="0" dirty="0">
                <a:solidFill>
                  <a:schemeClr val="bg1"/>
                </a:solidFill>
              </a:rPr>
              <a:t> </a:t>
            </a:r>
            <a:r>
              <a:rPr lang="en-US" sz="12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200" baseline="0" noProof="0" dirty="0">
                <a:solidFill>
                  <a:schemeClr val="bg1"/>
                </a:solidFill>
              </a:rPr>
              <a:t> ab</a:t>
            </a:r>
            <a:r>
              <a:rPr lang="en-US" sz="12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200" noProof="0" dirty="0">
                <a:solidFill>
                  <a:schemeClr val="bg1"/>
                </a:solidFill>
              </a:rPr>
              <a:t>Please cover</a:t>
            </a:r>
            <a:r>
              <a:rPr lang="en-US" sz="12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2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200" noProof="0" dirty="0">
                <a:solidFill>
                  <a:schemeClr val="bg1"/>
                </a:solidFill>
              </a:rPr>
              <a:t>(24,4 x 18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425553"/>
            <a:ext cx="8640452" cy="27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35100" rIns="54000" bIns="35100" rtlCol="0" anchor="t" anchorCtr="0"/>
          <a:lstStyle/>
          <a:p>
            <a:r>
              <a:rPr lang="en-US" sz="675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675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911653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300831"/>
            <a:ext cx="8172141" cy="313877"/>
          </a:xfrm>
        </p:spPr>
        <p:txBody>
          <a:bodyPr tIns="0" rIns="0" bIns="0" anchor="t" anchorCtr="0">
            <a:normAutofit/>
          </a:bodyPr>
          <a:lstStyle>
            <a:lvl1pPr algn="l"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560158"/>
            <a:ext cx="8172140" cy="853673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515966"/>
            <a:ext cx="2628590" cy="27661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6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515966"/>
            <a:ext cx="5075797" cy="27661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6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3" name="Grafik 12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48" y="-1"/>
            <a:ext cx="2555565" cy="978694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5875" cy="978694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0667455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006078"/>
            <a:ext cx="8353425" cy="340161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38113" indent="-138113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404813" indent="-1333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671513" indent="-134541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942975" indent="-1333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5" cy="5393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4571224"/>
            <a:ext cx="1857600" cy="42761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9" y="4533444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781636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671916"/>
            <a:r>
              <a:rPr lang="en-US" sz="525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677984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671916"/>
            <a:r>
              <a:rPr lang="en-US" sz="525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182359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006078"/>
            <a:ext cx="8353425" cy="340161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38113" indent="-138113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404813" indent="-1333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671513" indent="-13454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942975" indent="-1333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5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96659430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006078"/>
            <a:ext cx="8353425" cy="3401615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38113" indent="-138113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404813" indent="-1333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671513" indent="-134541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942975" indent="-1333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5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9" y="4533444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781636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671916"/>
            <a:r>
              <a:rPr lang="en-US" sz="525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677984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671916"/>
            <a:r>
              <a:rPr lang="en-US" sz="525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8" y="4571275"/>
            <a:ext cx="1857375" cy="42756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36519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006078"/>
            <a:ext cx="8353425" cy="1674019"/>
          </a:xfrm>
        </p:spPr>
        <p:txBody>
          <a:bodyPr/>
          <a:lstStyle>
            <a:lvl1pPr marL="133350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406004" indent="-13811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672704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940594" indent="-13454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12056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35367906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33675"/>
            <a:ext cx="8353425" cy="1674018"/>
          </a:xfrm>
        </p:spPr>
        <p:txBody>
          <a:bodyPr/>
          <a:lstStyle>
            <a:lvl1pPr marL="133350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406004" indent="-138113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672704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940594" indent="-134541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12056" indent="-1333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18409142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006078"/>
            <a:ext cx="4140200" cy="3401615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006078"/>
            <a:ext cx="4141788" cy="3401615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4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5504420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006078"/>
            <a:ext cx="4140200" cy="3401616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9175848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006078"/>
            <a:ext cx="2736850" cy="3401616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006078"/>
            <a:ext cx="2736850" cy="3401615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006078"/>
            <a:ext cx="2736850" cy="3401615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15919308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006078"/>
            <a:ext cx="4140200" cy="1674019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006078"/>
            <a:ext cx="4141787" cy="1674019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33675"/>
            <a:ext cx="4140199" cy="1674019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33675"/>
            <a:ext cx="4141788" cy="1674019"/>
          </a:xfrm>
        </p:spPr>
        <p:txBody>
          <a:bodyPr vert="horz" lIns="0" tIns="18000" rIns="0" bIns="18000" rtlCol="0">
            <a:normAutofit/>
          </a:bodyPr>
          <a:lstStyle>
            <a:lvl1pPr marL="133350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06004" indent="-1381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672704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940594" indent="-134541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25000"/>
              <a:buFont typeface="Arial" pitchFamily="34" charset="0"/>
              <a:buChar char="›"/>
              <a:defRPr lang="de-DE" sz="12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Tx/>
              <a:buNone/>
              <a:defRPr lang="de-DE" sz="12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553759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7898947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17344954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335866"/>
            <a:ext cx="8353425" cy="2071828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1800">
                <a:solidFill>
                  <a:schemeClr val="bg1"/>
                </a:solidFill>
              </a:defRPr>
            </a:lvl1pPr>
            <a:lvl2pPr marL="138113" indent="-13811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2pPr>
            <a:lvl3pPr marL="404813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3pPr>
            <a:lvl4pPr marL="671513" indent="-1345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4pPr>
            <a:lvl5pPr marL="942975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842669"/>
            <a:ext cx="8353425" cy="5393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4571224"/>
            <a:ext cx="1857600" cy="42761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9" y="4533444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781636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671916"/>
            <a:r>
              <a:rPr lang="en-US" sz="525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677984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671916"/>
            <a:r>
              <a:rPr lang="en-US" sz="525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447241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335866"/>
            <a:ext cx="8353425" cy="2071828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1800">
                <a:solidFill>
                  <a:schemeClr val="tx1"/>
                </a:solidFill>
              </a:defRPr>
            </a:lvl1pPr>
            <a:lvl2pPr marL="138113" indent="-13811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2pPr>
            <a:lvl3pPr marL="404813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3pPr>
            <a:lvl4pPr marL="671513" indent="-1345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4pPr>
            <a:lvl5pPr marL="942975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842669"/>
            <a:ext cx="8353425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14461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9" y="2335866"/>
            <a:ext cx="8353425" cy="2071828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1800">
                <a:solidFill>
                  <a:schemeClr val="bg1"/>
                </a:solidFill>
              </a:defRPr>
            </a:lvl1pPr>
            <a:lvl2pPr marL="138113" indent="-13811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2pPr>
            <a:lvl3pPr marL="404813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3pPr>
            <a:lvl4pPr marL="671513" indent="-13454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4pPr>
            <a:lvl5pPr marL="942975" indent="-1333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842669"/>
            <a:ext cx="8353425" cy="53935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9" y="4533444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7" y="4781636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671916"/>
            <a:r>
              <a:rPr lang="en-US" sz="525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4677984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671916"/>
            <a:r>
              <a:rPr lang="en-US" sz="525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8" y="4571275"/>
            <a:ext cx="1857375" cy="42756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94919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3,2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84394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A0CE834-690D-4F26-8C93-130BA36FD7C0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223074-4D72-465E-909D-7D1DBB514C91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0A75B6-8E1B-4380-84B9-49631E7ED158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5A1C77-F3AB-418B-BB96-BF86CA98ED28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1B2569-E16F-4FFF-9EC5-29BC0236DFAB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LOGOPLACEHOLDER" hidden="1"/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>
            <a:srgbClr val="FFFFFF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noProof="0" dirty="0">
              <a:solidFill>
                <a:srgbClr val="00B0F0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3 April 2022</a:t>
            </a:fld>
            <a:endParaRPr lang="en-US" noProof="0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mpower - DO NOT DELETE!!!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 userDrawn="1">
            <p:custDataLst>
              <p:tags r:id="rId23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9" y="4533444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8" y="4571275"/>
            <a:ext cx="1857375" cy="42756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222647"/>
            <a:ext cx="8353425" cy="539353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006079"/>
            <a:ext cx="8353425" cy="340161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668367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525">
                <a:solidFill>
                  <a:schemeClr val="tx1"/>
                </a:solidFill>
                <a:latin typeface="+mn-lt"/>
              </a:defRPr>
            </a:lvl1pPr>
          </a:lstStyle>
          <a:p>
            <a:fld id="{DD0B995C-0DC4-4194-BBD7-8C3812C84D11}" type="datetime3">
              <a:rPr lang="en-US" noProof="0" smtClean="0"/>
              <a:pPr/>
              <a:t>3 April 2022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781636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525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781636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525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501407" y="4781636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671916"/>
            <a:r>
              <a:rPr lang="en-US" sz="525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01407" y="4677984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671916"/>
            <a:r>
              <a:rPr lang="en-US" sz="525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22"/>
            </p:custDataLst>
          </p:nvPr>
        </p:nvSpPr>
        <p:spPr>
          <a:xfrm>
            <a:off x="-1270000" y="-952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46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</p:sldLayoutIdLst>
  <p:transition>
    <p:fade/>
  </p:transition>
  <p:hf hdr="0"/>
  <p:txStyles>
    <p:titleStyle>
      <a:lvl1pPr algn="l" defTabSz="685800" rtl="0" eaLnBrk="1" latinLnBrk="0" hangingPunct="1">
        <a:lnSpc>
          <a:spcPct val="95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33350" indent="-13335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SzPct val="125000"/>
        <a:buFont typeface="Arial" pitchFamily="34" charset="0"/>
        <a:buChar char="›"/>
        <a:defRPr sz="12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406004" indent="-138113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SzPct val="125000"/>
        <a:buFont typeface="Arial" pitchFamily="34" charset="0"/>
        <a:buChar char="›"/>
        <a:defRPr sz="12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672704" indent="-13335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SzPct val="125000"/>
        <a:buFont typeface="Arial" pitchFamily="34" charset="0"/>
        <a:buChar char="›"/>
        <a:defRPr sz="12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940594" indent="-134541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SzPct val="125000"/>
        <a:buFont typeface="Arial" pitchFamily="34" charset="0"/>
        <a:buChar char="›"/>
        <a:defRPr sz="12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212056" indent="-13335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SzPct val="125000"/>
        <a:buFont typeface="Arial" pitchFamily="34" charset="0"/>
        <a:buChar char="›"/>
        <a:defRPr sz="12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9000/env-vars.html/" TargetMode="Externa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DDB783E-7F79-4B27-A3D5-68EF70B84D8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/>
        </p:blipFill>
        <p:spPr>
          <a:xfrm>
            <a:off x="1547664" y="1067710"/>
            <a:ext cx="5576402" cy="18696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27584" y="3363838"/>
            <a:ext cx="4392488" cy="936104"/>
          </a:xfrm>
        </p:spPr>
        <p:txBody>
          <a:bodyPr>
            <a:noAutofit/>
          </a:bodyPr>
          <a:lstStyle/>
          <a:p>
            <a:r>
              <a:rPr lang="en-US" sz="2800" dirty="0"/>
              <a:t>Jenkins Workshop </a:t>
            </a:r>
            <a:br>
              <a:rPr lang="en-US" dirty="0"/>
            </a:br>
            <a:r>
              <a:rPr lang="en-US" b="0" i="1" dirty="0"/>
              <a:t>Introductio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/>
              <a:t>www.continental-corporation.com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5657098" y="3140950"/>
            <a:ext cx="2933936" cy="1506436"/>
          </a:xfr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sz="1000" b="1" dirty="0">
                <a:latin typeface="Verdana Pro SemiBold" panose="020B0604020202020204" pitchFamily="34" charset="0"/>
              </a:rPr>
              <a:t>Business Area Smart Mobility (SMY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65387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 err="1"/>
              <a:t>ToDo</a:t>
            </a: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 anchor="ctr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Pipeline Successive Jobs - build than test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0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34449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 err="1"/>
              <a:t>ToDo</a:t>
            </a: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 anchor="ctr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Master to Client/Slave Jenkins instances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1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556592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Specifying the Jenkinsfile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Configuring Jenkins Job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 anchor="ctr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Sourcing Remote Jenkins file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336600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 err="1"/>
              <a:t>ToDo</a:t>
            </a: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 anchor="ctr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Docker intro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3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274692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 err="1"/>
              <a:t>ToDo</a:t>
            </a: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 anchor="ctr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Docker Job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14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9593096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30A4D-DF04-4EC5-867F-09DF218AF3A6}" type="datetime1">
              <a:rPr lang="de-DE" noProof="0" smtClean="0"/>
              <a:t>03.04.2022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VNI / CVS © Continental AG</a:t>
            </a:r>
          </a:p>
        </p:txBody>
      </p:sp>
      <p:sp>
        <p:nvSpPr>
          <p:cNvPr id="5" name="Rechteck 4"/>
          <p:cNvSpPr/>
          <p:nvPr/>
        </p:nvSpPr>
        <p:spPr>
          <a:xfrm>
            <a:off x="179388" y="195263"/>
            <a:ext cx="8785225" cy="47529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534988" y="1143645"/>
            <a:ext cx="8132763" cy="3012281"/>
            <a:chOff x="534988" y="1435112"/>
            <a:chExt cx="8132763" cy="3012281"/>
          </a:xfrm>
        </p:grpSpPr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2595563" y="2144724"/>
              <a:ext cx="3335338" cy="1109663"/>
            </a:xfrm>
            <a:custGeom>
              <a:avLst/>
              <a:gdLst/>
              <a:ahLst/>
              <a:cxnLst>
                <a:cxn ang="0">
                  <a:pos x="15" y="115"/>
                </a:cxn>
                <a:cxn ang="0">
                  <a:pos x="54" y="0"/>
                </a:cxn>
                <a:cxn ang="0">
                  <a:pos x="72" y="115"/>
                </a:cxn>
                <a:cxn ang="0">
                  <a:pos x="54" y="155"/>
                </a:cxn>
                <a:cxn ang="0">
                  <a:pos x="74" y="405"/>
                </a:cxn>
                <a:cxn ang="0">
                  <a:pos x="15" y="367"/>
                </a:cxn>
                <a:cxn ang="0">
                  <a:pos x="0" y="155"/>
                </a:cxn>
                <a:cxn ang="0">
                  <a:pos x="179" y="177"/>
                </a:cxn>
                <a:cxn ang="0">
                  <a:pos x="140" y="177"/>
                </a:cxn>
                <a:cxn ang="0">
                  <a:pos x="102" y="445"/>
                </a:cxn>
                <a:cxn ang="0">
                  <a:pos x="140" y="0"/>
                </a:cxn>
                <a:cxn ang="0">
                  <a:pos x="172" y="115"/>
                </a:cxn>
                <a:cxn ang="0">
                  <a:pos x="218" y="445"/>
                </a:cxn>
                <a:cxn ang="0">
                  <a:pos x="179" y="177"/>
                </a:cxn>
                <a:cxn ang="0">
                  <a:pos x="316" y="305"/>
                </a:cxn>
                <a:cxn ang="0">
                  <a:pos x="292" y="346"/>
                </a:cxn>
                <a:cxn ang="0">
                  <a:pos x="309" y="405"/>
                </a:cxn>
                <a:cxn ang="0">
                  <a:pos x="330" y="296"/>
                </a:cxn>
                <a:cxn ang="0">
                  <a:pos x="283" y="282"/>
                </a:cxn>
                <a:cxn ang="0">
                  <a:pos x="330" y="249"/>
                </a:cxn>
                <a:cxn ang="0">
                  <a:pos x="312" y="155"/>
                </a:cxn>
                <a:cxn ang="0">
                  <a:pos x="295" y="238"/>
                </a:cxn>
                <a:cxn ang="0">
                  <a:pos x="257" y="193"/>
                </a:cxn>
                <a:cxn ang="0">
                  <a:pos x="368" y="193"/>
                </a:cxn>
                <a:cxn ang="0">
                  <a:pos x="330" y="445"/>
                </a:cxn>
                <a:cxn ang="0">
                  <a:pos x="299" y="445"/>
                </a:cxn>
                <a:cxn ang="0">
                  <a:pos x="253" y="341"/>
                </a:cxn>
                <a:cxn ang="0">
                  <a:pos x="461" y="155"/>
                </a:cxn>
                <a:cxn ang="0">
                  <a:pos x="442" y="445"/>
                </a:cxn>
                <a:cxn ang="0">
                  <a:pos x="404" y="115"/>
                </a:cxn>
                <a:cxn ang="0">
                  <a:pos x="442" y="128"/>
                </a:cxn>
                <a:cxn ang="0">
                  <a:pos x="519" y="193"/>
                </a:cxn>
                <a:cxn ang="0">
                  <a:pos x="481" y="445"/>
                </a:cxn>
                <a:cxn ang="0">
                  <a:pos x="555" y="0"/>
                </a:cxn>
                <a:cxn ang="0">
                  <a:pos x="594" y="267"/>
                </a:cxn>
                <a:cxn ang="0">
                  <a:pos x="644" y="115"/>
                </a:cxn>
                <a:cxn ang="0">
                  <a:pos x="626" y="282"/>
                </a:cxn>
                <a:cxn ang="0">
                  <a:pos x="642" y="445"/>
                </a:cxn>
                <a:cxn ang="0">
                  <a:pos x="594" y="293"/>
                </a:cxn>
                <a:cxn ang="0">
                  <a:pos x="555" y="445"/>
                </a:cxn>
                <a:cxn ang="0">
                  <a:pos x="765" y="483"/>
                </a:cxn>
                <a:cxn ang="0">
                  <a:pos x="759" y="115"/>
                </a:cxn>
                <a:cxn ang="0">
                  <a:pos x="817" y="261"/>
                </a:cxn>
                <a:cxn ang="0">
                  <a:pos x="828" y="262"/>
                </a:cxn>
                <a:cxn ang="0">
                  <a:pos x="887" y="115"/>
                </a:cxn>
                <a:cxn ang="0">
                  <a:pos x="817" y="504"/>
                </a:cxn>
                <a:cxn ang="0">
                  <a:pos x="765" y="483"/>
                </a:cxn>
                <a:cxn ang="0">
                  <a:pos x="967" y="155"/>
                </a:cxn>
                <a:cxn ang="0">
                  <a:pos x="948" y="383"/>
                </a:cxn>
                <a:cxn ang="0">
                  <a:pos x="987" y="383"/>
                </a:cxn>
                <a:cxn ang="0">
                  <a:pos x="1025" y="367"/>
                </a:cxn>
                <a:cxn ang="0">
                  <a:pos x="909" y="367"/>
                </a:cxn>
                <a:cxn ang="0">
                  <a:pos x="967" y="115"/>
                </a:cxn>
                <a:cxn ang="0">
                  <a:pos x="1025" y="367"/>
                </a:cxn>
                <a:cxn ang="0">
                  <a:pos x="1118" y="405"/>
                </a:cxn>
                <a:cxn ang="0">
                  <a:pos x="1138" y="115"/>
                </a:cxn>
                <a:cxn ang="0">
                  <a:pos x="1176" y="445"/>
                </a:cxn>
                <a:cxn ang="0">
                  <a:pos x="1138" y="432"/>
                </a:cxn>
                <a:cxn ang="0">
                  <a:pos x="1060" y="367"/>
                </a:cxn>
                <a:cxn ang="0">
                  <a:pos x="1099" y="115"/>
                </a:cxn>
              </a:cxnLst>
              <a:rect l="0" t="0" r="r" b="b"/>
              <a:pathLst>
                <a:path w="1176" h="523">
                  <a:moveTo>
                    <a:pt x="0" y="115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115"/>
                    <a:pt x="54" y="115"/>
                    <a:pt x="54" y="115"/>
                  </a:cubicBezTo>
                  <a:cubicBezTo>
                    <a:pt x="72" y="115"/>
                    <a:pt x="72" y="115"/>
                    <a:pt x="72" y="115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4" y="383"/>
                    <a:pt x="54" y="383"/>
                    <a:pt x="54" y="383"/>
                  </a:cubicBezTo>
                  <a:cubicBezTo>
                    <a:pt x="54" y="397"/>
                    <a:pt x="60" y="405"/>
                    <a:pt x="74" y="405"/>
                  </a:cubicBezTo>
                  <a:cubicBezTo>
                    <a:pt x="74" y="445"/>
                    <a:pt x="74" y="445"/>
                    <a:pt x="74" y="445"/>
                  </a:cubicBezTo>
                  <a:cubicBezTo>
                    <a:pt x="35" y="445"/>
                    <a:pt x="15" y="419"/>
                    <a:pt x="15" y="367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15"/>
                    <a:pt x="0" y="115"/>
                    <a:pt x="0" y="115"/>
                  </a:cubicBezTo>
                  <a:close/>
                  <a:moveTo>
                    <a:pt x="179" y="177"/>
                  </a:moveTo>
                  <a:cubicBezTo>
                    <a:pt x="179" y="162"/>
                    <a:pt x="173" y="155"/>
                    <a:pt x="160" y="155"/>
                  </a:cubicBezTo>
                  <a:cubicBezTo>
                    <a:pt x="147" y="155"/>
                    <a:pt x="140" y="162"/>
                    <a:pt x="140" y="177"/>
                  </a:cubicBezTo>
                  <a:cubicBezTo>
                    <a:pt x="140" y="445"/>
                    <a:pt x="140" y="445"/>
                    <a:pt x="140" y="445"/>
                  </a:cubicBezTo>
                  <a:cubicBezTo>
                    <a:pt x="102" y="445"/>
                    <a:pt x="102" y="445"/>
                    <a:pt x="102" y="445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128"/>
                    <a:pt x="140" y="128"/>
                    <a:pt x="140" y="128"/>
                  </a:cubicBezTo>
                  <a:cubicBezTo>
                    <a:pt x="145" y="119"/>
                    <a:pt x="155" y="115"/>
                    <a:pt x="172" y="115"/>
                  </a:cubicBezTo>
                  <a:cubicBezTo>
                    <a:pt x="202" y="115"/>
                    <a:pt x="218" y="141"/>
                    <a:pt x="218" y="193"/>
                  </a:cubicBezTo>
                  <a:cubicBezTo>
                    <a:pt x="218" y="445"/>
                    <a:pt x="218" y="445"/>
                    <a:pt x="218" y="445"/>
                  </a:cubicBezTo>
                  <a:cubicBezTo>
                    <a:pt x="179" y="445"/>
                    <a:pt x="179" y="445"/>
                    <a:pt x="179" y="445"/>
                  </a:cubicBezTo>
                  <a:cubicBezTo>
                    <a:pt x="179" y="177"/>
                    <a:pt x="179" y="177"/>
                    <a:pt x="179" y="177"/>
                  </a:cubicBezTo>
                  <a:close/>
                  <a:moveTo>
                    <a:pt x="330" y="296"/>
                  </a:moveTo>
                  <a:cubicBezTo>
                    <a:pt x="325" y="299"/>
                    <a:pt x="320" y="302"/>
                    <a:pt x="316" y="305"/>
                  </a:cubicBezTo>
                  <a:cubicBezTo>
                    <a:pt x="311" y="308"/>
                    <a:pt x="308" y="311"/>
                    <a:pt x="303" y="314"/>
                  </a:cubicBezTo>
                  <a:cubicBezTo>
                    <a:pt x="295" y="320"/>
                    <a:pt x="292" y="331"/>
                    <a:pt x="292" y="346"/>
                  </a:cubicBezTo>
                  <a:cubicBezTo>
                    <a:pt x="292" y="383"/>
                    <a:pt x="292" y="383"/>
                    <a:pt x="292" y="383"/>
                  </a:cubicBezTo>
                  <a:cubicBezTo>
                    <a:pt x="292" y="398"/>
                    <a:pt x="297" y="405"/>
                    <a:pt x="309" y="405"/>
                  </a:cubicBezTo>
                  <a:cubicBezTo>
                    <a:pt x="323" y="405"/>
                    <a:pt x="330" y="398"/>
                    <a:pt x="330" y="383"/>
                  </a:cubicBezTo>
                  <a:cubicBezTo>
                    <a:pt x="330" y="296"/>
                    <a:pt x="330" y="296"/>
                    <a:pt x="330" y="296"/>
                  </a:cubicBezTo>
                  <a:close/>
                  <a:moveTo>
                    <a:pt x="253" y="341"/>
                  </a:moveTo>
                  <a:cubicBezTo>
                    <a:pt x="253" y="316"/>
                    <a:pt x="263" y="296"/>
                    <a:pt x="283" y="282"/>
                  </a:cubicBezTo>
                  <a:cubicBezTo>
                    <a:pt x="293" y="275"/>
                    <a:pt x="301" y="269"/>
                    <a:pt x="309" y="263"/>
                  </a:cubicBezTo>
                  <a:cubicBezTo>
                    <a:pt x="317" y="258"/>
                    <a:pt x="324" y="252"/>
                    <a:pt x="330" y="249"/>
                  </a:cubicBezTo>
                  <a:cubicBezTo>
                    <a:pt x="330" y="177"/>
                    <a:pt x="330" y="177"/>
                    <a:pt x="330" y="177"/>
                  </a:cubicBezTo>
                  <a:cubicBezTo>
                    <a:pt x="330" y="162"/>
                    <a:pt x="324" y="155"/>
                    <a:pt x="312" y="155"/>
                  </a:cubicBezTo>
                  <a:cubicBezTo>
                    <a:pt x="301" y="155"/>
                    <a:pt x="295" y="162"/>
                    <a:pt x="295" y="177"/>
                  </a:cubicBezTo>
                  <a:cubicBezTo>
                    <a:pt x="295" y="238"/>
                    <a:pt x="295" y="238"/>
                    <a:pt x="295" y="238"/>
                  </a:cubicBezTo>
                  <a:cubicBezTo>
                    <a:pt x="257" y="238"/>
                    <a:pt x="257" y="238"/>
                    <a:pt x="257" y="238"/>
                  </a:cubicBezTo>
                  <a:cubicBezTo>
                    <a:pt x="257" y="193"/>
                    <a:pt x="257" y="193"/>
                    <a:pt x="257" y="193"/>
                  </a:cubicBezTo>
                  <a:cubicBezTo>
                    <a:pt x="257" y="141"/>
                    <a:pt x="275" y="115"/>
                    <a:pt x="312" y="115"/>
                  </a:cubicBezTo>
                  <a:cubicBezTo>
                    <a:pt x="350" y="115"/>
                    <a:pt x="368" y="141"/>
                    <a:pt x="368" y="193"/>
                  </a:cubicBezTo>
                  <a:cubicBezTo>
                    <a:pt x="368" y="445"/>
                    <a:pt x="368" y="445"/>
                    <a:pt x="368" y="445"/>
                  </a:cubicBezTo>
                  <a:cubicBezTo>
                    <a:pt x="330" y="445"/>
                    <a:pt x="330" y="445"/>
                    <a:pt x="330" y="445"/>
                  </a:cubicBezTo>
                  <a:cubicBezTo>
                    <a:pt x="330" y="431"/>
                    <a:pt x="330" y="431"/>
                    <a:pt x="330" y="431"/>
                  </a:cubicBezTo>
                  <a:cubicBezTo>
                    <a:pt x="324" y="440"/>
                    <a:pt x="313" y="445"/>
                    <a:pt x="299" y="445"/>
                  </a:cubicBezTo>
                  <a:cubicBezTo>
                    <a:pt x="268" y="445"/>
                    <a:pt x="253" y="419"/>
                    <a:pt x="253" y="367"/>
                  </a:cubicBezTo>
                  <a:cubicBezTo>
                    <a:pt x="253" y="341"/>
                    <a:pt x="253" y="341"/>
                    <a:pt x="253" y="341"/>
                  </a:cubicBezTo>
                  <a:close/>
                  <a:moveTo>
                    <a:pt x="481" y="177"/>
                  </a:moveTo>
                  <a:cubicBezTo>
                    <a:pt x="481" y="162"/>
                    <a:pt x="474" y="155"/>
                    <a:pt x="461" y="155"/>
                  </a:cubicBezTo>
                  <a:cubicBezTo>
                    <a:pt x="449" y="155"/>
                    <a:pt x="442" y="162"/>
                    <a:pt x="442" y="177"/>
                  </a:cubicBezTo>
                  <a:cubicBezTo>
                    <a:pt x="442" y="445"/>
                    <a:pt x="442" y="445"/>
                    <a:pt x="442" y="445"/>
                  </a:cubicBezTo>
                  <a:cubicBezTo>
                    <a:pt x="404" y="445"/>
                    <a:pt x="404" y="445"/>
                    <a:pt x="404" y="445"/>
                  </a:cubicBezTo>
                  <a:cubicBezTo>
                    <a:pt x="404" y="115"/>
                    <a:pt x="404" y="115"/>
                    <a:pt x="404" y="115"/>
                  </a:cubicBezTo>
                  <a:cubicBezTo>
                    <a:pt x="442" y="115"/>
                    <a:pt x="442" y="115"/>
                    <a:pt x="442" y="115"/>
                  </a:cubicBezTo>
                  <a:cubicBezTo>
                    <a:pt x="442" y="128"/>
                    <a:pt x="442" y="128"/>
                    <a:pt x="442" y="128"/>
                  </a:cubicBezTo>
                  <a:cubicBezTo>
                    <a:pt x="447" y="119"/>
                    <a:pt x="457" y="115"/>
                    <a:pt x="474" y="115"/>
                  </a:cubicBezTo>
                  <a:cubicBezTo>
                    <a:pt x="504" y="115"/>
                    <a:pt x="519" y="141"/>
                    <a:pt x="519" y="193"/>
                  </a:cubicBezTo>
                  <a:cubicBezTo>
                    <a:pt x="519" y="445"/>
                    <a:pt x="519" y="445"/>
                    <a:pt x="519" y="445"/>
                  </a:cubicBezTo>
                  <a:cubicBezTo>
                    <a:pt x="481" y="445"/>
                    <a:pt x="481" y="445"/>
                    <a:pt x="481" y="445"/>
                  </a:cubicBezTo>
                  <a:cubicBezTo>
                    <a:pt x="481" y="177"/>
                    <a:pt x="481" y="177"/>
                    <a:pt x="481" y="177"/>
                  </a:cubicBezTo>
                  <a:close/>
                  <a:moveTo>
                    <a:pt x="555" y="0"/>
                  </a:moveTo>
                  <a:cubicBezTo>
                    <a:pt x="594" y="0"/>
                    <a:pt x="594" y="0"/>
                    <a:pt x="594" y="0"/>
                  </a:cubicBezTo>
                  <a:cubicBezTo>
                    <a:pt x="594" y="267"/>
                    <a:pt x="594" y="267"/>
                    <a:pt x="594" y="267"/>
                  </a:cubicBezTo>
                  <a:cubicBezTo>
                    <a:pt x="604" y="234"/>
                    <a:pt x="604" y="234"/>
                    <a:pt x="604" y="234"/>
                  </a:cubicBezTo>
                  <a:cubicBezTo>
                    <a:pt x="644" y="115"/>
                    <a:pt x="644" y="115"/>
                    <a:pt x="644" y="115"/>
                  </a:cubicBezTo>
                  <a:cubicBezTo>
                    <a:pt x="683" y="115"/>
                    <a:pt x="683" y="115"/>
                    <a:pt x="683" y="115"/>
                  </a:cubicBezTo>
                  <a:cubicBezTo>
                    <a:pt x="626" y="282"/>
                    <a:pt x="626" y="282"/>
                    <a:pt x="626" y="282"/>
                  </a:cubicBezTo>
                  <a:cubicBezTo>
                    <a:pt x="683" y="445"/>
                    <a:pt x="683" y="445"/>
                    <a:pt x="683" y="445"/>
                  </a:cubicBezTo>
                  <a:cubicBezTo>
                    <a:pt x="642" y="445"/>
                    <a:pt x="642" y="445"/>
                    <a:pt x="642" y="445"/>
                  </a:cubicBezTo>
                  <a:cubicBezTo>
                    <a:pt x="604" y="327"/>
                    <a:pt x="604" y="327"/>
                    <a:pt x="604" y="327"/>
                  </a:cubicBezTo>
                  <a:cubicBezTo>
                    <a:pt x="594" y="293"/>
                    <a:pt x="594" y="293"/>
                    <a:pt x="594" y="293"/>
                  </a:cubicBezTo>
                  <a:cubicBezTo>
                    <a:pt x="594" y="445"/>
                    <a:pt x="594" y="445"/>
                    <a:pt x="594" y="445"/>
                  </a:cubicBezTo>
                  <a:cubicBezTo>
                    <a:pt x="555" y="445"/>
                    <a:pt x="555" y="445"/>
                    <a:pt x="555" y="445"/>
                  </a:cubicBezTo>
                  <a:lnTo>
                    <a:pt x="555" y="0"/>
                  </a:lnTo>
                  <a:close/>
                  <a:moveTo>
                    <a:pt x="765" y="483"/>
                  </a:moveTo>
                  <a:cubicBezTo>
                    <a:pt x="787" y="482"/>
                    <a:pt x="801" y="469"/>
                    <a:pt x="805" y="445"/>
                  </a:cubicBezTo>
                  <a:cubicBezTo>
                    <a:pt x="759" y="115"/>
                    <a:pt x="759" y="115"/>
                    <a:pt x="759" y="115"/>
                  </a:cubicBezTo>
                  <a:cubicBezTo>
                    <a:pt x="799" y="115"/>
                    <a:pt x="799" y="115"/>
                    <a:pt x="799" y="115"/>
                  </a:cubicBezTo>
                  <a:cubicBezTo>
                    <a:pt x="817" y="261"/>
                    <a:pt x="817" y="261"/>
                    <a:pt x="817" y="261"/>
                  </a:cubicBezTo>
                  <a:cubicBezTo>
                    <a:pt x="823" y="332"/>
                    <a:pt x="823" y="332"/>
                    <a:pt x="823" y="332"/>
                  </a:cubicBezTo>
                  <a:cubicBezTo>
                    <a:pt x="828" y="262"/>
                    <a:pt x="828" y="262"/>
                    <a:pt x="828" y="262"/>
                  </a:cubicBezTo>
                  <a:cubicBezTo>
                    <a:pt x="847" y="115"/>
                    <a:pt x="847" y="115"/>
                    <a:pt x="847" y="115"/>
                  </a:cubicBezTo>
                  <a:cubicBezTo>
                    <a:pt x="887" y="115"/>
                    <a:pt x="887" y="115"/>
                    <a:pt x="887" y="115"/>
                  </a:cubicBezTo>
                  <a:cubicBezTo>
                    <a:pt x="843" y="445"/>
                    <a:pt x="843" y="445"/>
                    <a:pt x="843" y="445"/>
                  </a:cubicBezTo>
                  <a:cubicBezTo>
                    <a:pt x="840" y="472"/>
                    <a:pt x="831" y="491"/>
                    <a:pt x="817" y="504"/>
                  </a:cubicBezTo>
                  <a:cubicBezTo>
                    <a:pt x="804" y="517"/>
                    <a:pt x="786" y="523"/>
                    <a:pt x="765" y="523"/>
                  </a:cubicBezTo>
                  <a:cubicBezTo>
                    <a:pt x="765" y="483"/>
                    <a:pt x="765" y="483"/>
                    <a:pt x="765" y="483"/>
                  </a:cubicBezTo>
                  <a:close/>
                  <a:moveTo>
                    <a:pt x="987" y="177"/>
                  </a:moveTo>
                  <a:cubicBezTo>
                    <a:pt x="987" y="162"/>
                    <a:pt x="980" y="155"/>
                    <a:pt x="967" y="155"/>
                  </a:cubicBezTo>
                  <a:cubicBezTo>
                    <a:pt x="954" y="155"/>
                    <a:pt x="948" y="162"/>
                    <a:pt x="948" y="177"/>
                  </a:cubicBezTo>
                  <a:cubicBezTo>
                    <a:pt x="948" y="383"/>
                    <a:pt x="948" y="383"/>
                    <a:pt x="948" y="383"/>
                  </a:cubicBezTo>
                  <a:cubicBezTo>
                    <a:pt x="948" y="398"/>
                    <a:pt x="954" y="405"/>
                    <a:pt x="967" y="405"/>
                  </a:cubicBezTo>
                  <a:cubicBezTo>
                    <a:pt x="980" y="405"/>
                    <a:pt x="987" y="398"/>
                    <a:pt x="987" y="383"/>
                  </a:cubicBezTo>
                  <a:lnTo>
                    <a:pt x="987" y="177"/>
                  </a:lnTo>
                  <a:close/>
                  <a:moveTo>
                    <a:pt x="1025" y="367"/>
                  </a:moveTo>
                  <a:cubicBezTo>
                    <a:pt x="1025" y="419"/>
                    <a:pt x="1005" y="445"/>
                    <a:pt x="967" y="445"/>
                  </a:cubicBezTo>
                  <a:cubicBezTo>
                    <a:pt x="928" y="445"/>
                    <a:pt x="909" y="419"/>
                    <a:pt x="909" y="367"/>
                  </a:cubicBezTo>
                  <a:cubicBezTo>
                    <a:pt x="909" y="193"/>
                    <a:pt x="909" y="193"/>
                    <a:pt x="909" y="193"/>
                  </a:cubicBezTo>
                  <a:cubicBezTo>
                    <a:pt x="909" y="141"/>
                    <a:pt x="928" y="115"/>
                    <a:pt x="967" y="115"/>
                  </a:cubicBezTo>
                  <a:cubicBezTo>
                    <a:pt x="1005" y="115"/>
                    <a:pt x="1025" y="141"/>
                    <a:pt x="1025" y="193"/>
                  </a:cubicBezTo>
                  <a:lnTo>
                    <a:pt x="1025" y="367"/>
                  </a:lnTo>
                  <a:close/>
                  <a:moveTo>
                    <a:pt x="1099" y="383"/>
                  </a:moveTo>
                  <a:cubicBezTo>
                    <a:pt x="1099" y="397"/>
                    <a:pt x="1105" y="405"/>
                    <a:pt x="1118" y="405"/>
                  </a:cubicBezTo>
                  <a:cubicBezTo>
                    <a:pt x="1131" y="405"/>
                    <a:pt x="1138" y="397"/>
                    <a:pt x="1138" y="383"/>
                  </a:cubicBezTo>
                  <a:cubicBezTo>
                    <a:pt x="1138" y="115"/>
                    <a:pt x="1138" y="115"/>
                    <a:pt x="1138" y="115"/>
                  </a:cubicBezTo>
                  <a:cubicBezTo>
                    <a:pt x="1176" y="115"/>
                    <a:pt x="1176" y="115"/>
                    <a:pt x="1176" y="115"/>
                  </a:cubicBezTo>
                  <a:cubicBezTo>
                    <a:pt x="1176" y="445"/>
                    <a:pt x="1176" y="445"/>
                    <a:pt x="1176" y="445"/>
                  </a:cubicBezTo>
                  <a:cubicBezTo>
                    <a:pt x="1138" y="445"/>
                    <a:pt x="1138" y="445"/>
                    <a:pt x="1138" y="445"/>
                  </a:cubicBezTo>
                  <a:cubicBezTo>
                    <a:pt x="1138" y="432"/>
                    <a:pt x="1138" y="432"/>
                    <a:pt x="1138" y="432"/>
                  </a:cubicBezTo>
                  <a:cubicBezTo>
                    <a:pt x="1134" y="441"/>
                    <a:pt x="1123" y="445"/>
                    <a:pt x="1106" y="445"/>
                  </a:cubicBezTo>
                  <a:cubicBezTo>
                    <a:pt x="1076" y="445"/>
                    <a:pt x="1060" y="419"/>
                    <a:pt x="1060" y="367"/>
                  </a:cubicBezTo>
                  <a:cubicBezTo>
                    <a:pt x="1060" y="115"/>
                    <a:pt x="1060" y="115"/>
                    <a:pt x="1060" y="115"/>
                  </a:cubicBezTo>
                  <a:cubicBezTo>
                    <a:pt x="1099" y="115"/>
                    <a:pt x="1099" y="115"/>
                    <a:pt x="1099" y="115"/>
                  </a:cubicBezTo>
                  <a:cubicBezTo>
                    <a:pt x="1099" y="383"/>
                    <a:pt x="1099" y="383"/>
                    <a:pt x="1099" y="383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5992235" y="2129246"/>
              <a:ext cx="1555750" cy="694135"/>
            </a:xfrm>
            <a:custGeom>
              <a:avLst/>
              <a:gdLst/>
              <a:ahLst/>
              <a:cxnLst>
                <a:cxn ang="0">
                  <a:pos x="48" y="236"/>
                </a:cxn>
                <a:cxn ang="0">
                  <a:pos x="24" y="110"/>
                </a:cxn>
                <a:cxn ang="0">
                  <a:pos x="48" y="288"/>
                </a:cxn>
                <a:cxn ang="0">
                  <a:pos x="0" y="223"/>
                </a:cxn>
                <a:cxn ang="0">
                  <a:pos x="48" y="81"/>
                </a:cxn>
                <a:cxn ang="0">
                  <a:pos x="72" y="277"/>
                </a:cxn>
                <a:cxn ang="0">
                  <a:pos x="24" y="289"/>
                </a:cxn>
                <a:cxn ang="0">
                  <a:pos x="139" y="71"/>
                </a:cxn>
                <a:cxn ang="0">
                  <a:pos x="118" y="110"/>
                </a:cxn>
                <a:cxn ang="0">
                  <a:pos x="94" y="71"/>
                </a:cxn>
                <a:cxn ang="0">
                  <a:pos x="203" y="185"/>
                </a:cxn>
                <a:cxn ang="0">
                  <a:pos x="179" y="216"/>
                </a:cxn>
                <a:cxn ang="0">
                  <a:pos x="203" y="239"/>
                </a:cxn>
                <a:cxn ang="0">
                  <a:pos x="173" y="176"/>
                </a:cxn>
                <a:cxn ang="0">
                  <a:pos x="203" y="110"/>
                </a:cxn>
                <a:cxn ang="0">
                  <a:pos x="181" y="149"/>
                </a:cxn>
                <a:cxn ang="0">
                  <a:pos x="191" y="71"/>
                </a:cxn>
                <a:cxn ang="0">
                  <a:pos x="203" y="277"/>
                </a:cxn>
                <a:cxn ang="0">
                  <a:pos x="155" y="229"/>
                </a:cxn>
                <a:cxn ang="0">
                  <a:pos x="285" y="96"/>
                </a:cxn>
                <a:cxn ang="0">
                  <a:pos x="285" y="253"/>
                </a:cxn>
                <a:cxn ang="0">
                  <a:pos x="321" y="199"/>
                </a:cxn>
                <a:cxn ang="0">
                  <a:pos x="249" y="229"/>
                </a:cxn>
                <a:cxn ang="0">
                  <a:pos x="321" y="120"/>
                </a:cxn>
                <a:cxn ang="0">
                  <a:pos x="297" y="110"/>
                </a:cxn>
                <a:cxn ang="0">
                  <a:pos x="342" y="0"/>
                </a:cxn>
                <a:cxn ang="0">
                  <a:pos x="366" y="277"/>
                </a:cxn>
                <a:cxn ang="0">
                  <a:pos x="366" y="71"/>
                </a:cxn>
                <a:cxn ang="0">
                  <a:pos x="427" y="190"/>
                </a:cxn>
                <a:cxn ang="0">
                  <a:pos x="412" y="239"/>
                </a:cxn>
                <a:cxn ang="0">
                  <a:pos x="436" y="185"/>
                </a:cxn>
                <a:cxn ang="0">
                  <a:pos x="423" y="164"/>
                </a:cxn>
                <a:cxn ang="0">
                  <a:pos x="425" y="96"/>
                </a:cxn>
                <a:cxn ang="0">
                  <a:pos x="391" y="149"/>
                </a:cxn>
                <a:cxn ang="0">
                  <a:pos x="461" y="120"/>
                </a:cxn>
                <a:cxn ang="0">
                  <a:pos x="436" y="268"/>
                </a:cxn>
                <a:cxn ang="0">
                  <a:pos x="389" y="213"/>
                </a:cxn>
                <a:cxn ang="0">
                  <a:pos x="504" y="109"/>
                </a:cxn>
                <a:cxn ang="0">
                  <a:pos x="549" y="226"/>
                </a:cxn>
                <a:cxn ang="0">
                  <a:pos x="480" y="216"/>
                </a:cxn>
                <a:cxn ang="0">
                  <a:pos x="514" y="254"/>
                </a:cxn>
                <a:cxn ang="0">
                  <a:pos x="502" y="180"/>
                </a:cxn>
                <a:cxn ang="0">
                  <a:pos x="547" y="123"/>
                </a:cxn>
                <a:cxn ang="0">
                  <a:pos x="524" y="109"/>
                </a:cxn>
              </a:cxnLst>
              <a:rect l="0" t="0" r="r" b="b"/>
              <a:pathLst>
                <a:path w="549" h="327">
                  <a:moveTo>
                    <a:pt x="24" y="234"/>
                  </a:moveTo>
                  <a:cubicBezTo>
                    <a:pt x="24" y="243"/>
                    <a:pt x="28" y="248"/>
                    <a:pt x="36" y="248"/>
                  </a:cubicBezTo>
                  <a:cubicBezTo>
                    <a:pt x="43" y="248"/>
                    <a:pt x="48" y="244"/>
                    <a:pt x="48" y="236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48" y="100"/>
                    <a:pt x="44" y="96"/>
                    <a:pt x="36" y="96"/>
                  </a:cubicBezTo>
                  <a:cubicBezTo>
                    <a:pt x="28" y="96"/>
                    <a:pt x="24" y="100"/>
                    <a:pt x="24" y="110"/>
                  </a:cubicBezTo>
                  <a:lnTo>
                    <a:pt x="24" y="234"/>
                  </a:lnTo>
                  <a:close/>
                  <a:moveTo>
                    <a:pt x="36" y="302"/>
                  </a:moveTo>
                  <a:cubicBezTo>
                    <a:pt x="44" y="302"/>
                    <a:pt x="48" y="297"/>
                    <a:pt x="48" y="288"/>
                  </a:cubicBezTo>
                  <a:cubicBezTo>
                    <a:pt x="48" y="265"/>
                    <a:pt x="48" y="265"/>
                    <a:pt x="48" y="265"/>
                  </a:cubicBezTo>
                  <a:cubicBezTo>
                    <a:pt x="45" y="270"/>
                    <a:pt x="38" y="273"/>
                    <a:pt x="27" y="273"/>
                  </a:cubicBezTo>
                  <a:cubicBezTo>
                    <a:pt x="9" y="273"/>
                    <a:pt x="0" y="257"/>
                    <a:pt x="0" y="223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88"/>
                    <a:pt x="9" y="71"/>
                    <a:pt x="27" y="71"/>
                  </a:cubicBezTo>
                  <a:cubicBezTo>
                    <a:pt x="34" y="71"/>
                    <a:pt x="41" y="75"/>
                    <a:pt x="48" y="8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72" y="71"/>
                    <a:pt x="72" y="71"/>
                    <a:pt x="72" y="71"/>
                  </a:cubicBezTo>
                  <a:cubicBezTo>
                    <a:pt x="72" y="277"/>
                    <a:pt x="72" y="277"/>
                    <a:pt x="72" y="277"/>
                  </a:cubicBezTo>
                  <a:cubicBezTo>
                    <a:pt x="72" y="310"/>
                    <a:pt x="60" y="327"/>
                    <a:pt x="36" y="327"/>
                  </a:cubicBezTo>
                  <a:cubicBezTo>
                    <a:pt x="14" y="327"/>
                    <a:pt x="3" y="314"/>
                    <a:pt x="0" y="289"/>
                  </a:cubicBezTo>
                  <a:cubicBezTo>
                    <a:pt x="24" y="289"/>
                    <a:pt x="24" y="289"/>
                    <a:pt x="24" y="289"/>
                  </a:cubicBezTo>
                  <a:cubicBezTo>
                    <a:pt x="25" y="298"/>
                    <a:pt x="28" y="302"/>
                    <a:pt x="36" y="302"/>
                  </a:cubicBezTo>
                  <a:close/>
                  <a:moveTo>
                    <a:pt x="118" y="80"/>
                  </a:moveTo>
                  <a:cubicBezTo>
                    <a:pt x="121" y="74"/>
                    <a:pt x="128" y="71"/>
                    <a:pt x="139" y="71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98"/>
                    <a:pt x="134" y="96"/>
                    <a:pt x="131" y="96"/>
                  </a:cubicBezTo>
                  <a:cubicBezTo>
                    <a:pt x="122" y="96"/>
                    <a:pt x="118" y="101"/>
                    <a:pt x="118" y="110"/>
                  </a:cubicBezTo>
                  <a:cubicBezTo>
                    <a:pt x="118" y="277"/>
                    <a:pt x="118" y="277"/>
                    <a:pt x="118" y="277"/>
                  </a:cubicBezTo>
                  <a:cubicBezTo>
                    <a:pt x="94" y="277"/>
                    <a:pt x="94" y="277"/>
                    <a:pt x="94" y="277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18" y="80"/>
                    <a:pt x="118" y="80"/>
                    <a:pt x="118" y="80"/>
                  </a:cubicBezTo>
                  <a:close/>
                  <a:moveTo>
                    <a:pt x="203" y="185"/>
                  </a:moveTo>
                  <a:cubicBezTo>
                    <a:pt x="199" y="186"/>
                    <a:pt x="196" y="188"/>
                    <a:pt x="194" y="190"/>
                  </a:cubicBezTo>
                  <a:cubicBezTo>
                    <a:pt x="191" y="192"/>
                    <a:pt x="189" y="194"/>
                    <a:pt x="186" y="195"/>
                  </a:cubicBezTo>
                  <a:cubicBezTo>
                    <a:pt x="181" y="199"/>
                    <a:pt x="179" y="206"/>
                    <a:pt x="179" y="216"/>
                  </a:cubicBezTo>
                  <a:cubicBezTo>
                    <a:pt x="179" y="239"/>
                    <a:pt x="179" y="239"/>
                    <a:pt x="179" y="239"/>
                  </a:cubicBezTo>
                  <a:cubicBezTo>
                    <a:pt x="179" y="248"/>
                    <a:pt x="182" y="253"/>
                    <a:pt x="190" y="253"/>
                  </a:cubicBezTo>
                  <a:cubicBezTo>
                    <a:pt x="198" y="253"/>
                    <a:pt x="203" y="248"/>
                    <a:pt x="203" y="239"/>
                  </a:cubicBezTo>
                  <a:lnTo>
                    <a:pt x="203" y="185"/>
                  </a:lnTo>
                  <a:close/>
                  <a:moveTo>
                    <a:pt x="155" y="213"/>
                  </a:moveTo>
                  <a:cubicBezTo>
                    <a:pt x="155" y="197"/>
                    <a:pt x="161" y="185"/>
                    <a:pt x="173" y="176"/>
                  </a:cubicBezTo>
                  <a:cubicBezTo>
                    <a:pt x="180" y="171"/>
                    <a:pt x="185" y="167"/>
                    <a:pt x="190" y="164"/>
                  </a:cubicBezTo>
                  <a:cubicBezTo>
                    <a:pt x="195" y="161"/>
                    <a:pt x="199" y="158"/>
                    <a:pt x="203" y="155"/>
                  </a:cubicBezTo>
                  <a:cubicBezTo>
                    <a:pt x="203" y="110"/>
                    <a:pt x="203" y="110"/>
                    <a:pt x="203" y="110"/>
                  </a:cubicBezTo>
                  <a:cubicBezTo>
                    <a:pt x="203" y="101"/>
                    <a:pt x="199" y="96"/>
                    <a:pt x="191" y="96"/>
                  </a:cubicBezTo>
                  <a:cubicBezTo>
                    <a:pt x="185" y="96"/>
                    <a:pt x="181" y="101"/>
                    <a:pt x="181" y="110"/>
                  </a:cubicBezTo>
                  <a:cubicBezTo>
                    <a:pt x="181" y="149"/>
                    <a:pt x="181" y="149"/>
                    <a:pt x="181" y="149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7" y="120"/>
                    <a:pt x="157" y="120"/>
                    <a:pt x="157" y="120"/>
                  </a:cubicBezTo>
                  <a:cubicBezTo>
                    <a:pt x="157" y="87"/>
                    <a:pt x="169" y="71"/>
                    <a:pt x="191" y="71"/>
                  </a:cubicBezTo>
                  <a:cubicBezTo>
                    <a:pt x="215" y="71"/>
                    <a:pt x="227" y="87"/>
                    <a:pt x="227" y="120"/>
                  </a:cubicBezTo>
                  <a:cubicBezTo>
                    <a:pt x="227" y="277"/>
                    <a:pt x="227" y="277"/>
                    <a:pt x="227" y="277"/>
                  </a:cubicBezTo>
                  <a:cubicBezTo>
                    <a:pt x="203" y="277"/>
                    <a:pt x="203" y="277"/>
                    <a:pt x="203" y="27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199" y="275"/>
                    <a:pt x="193" y="277"/>
                    <a:pt x="184" y="277"/>
                  </a:cubicBezTo>
                  <a:cubicBezTo>
                    <a:pt x="164" y="277"/>
                    <a:pt x="155" y="261"/>
                    <a:pt x="155" y="229"/>
                  </a:cubicBezTo>
                  <a:cubicBezTo>
                    <a:pt x="155" y="213"/>
                    <a:pt x="155" y="213"/>
                    <a:pt x="155" y="213"/>
                  </a:cubicBezTo>
                  <a:close/>
                  <a:moveTo>
                    <a:pt x="297" y="110"/>
                  </a:moveTo>
                  <a:cubicBezTo>
                    <a:pt x="297" y="101"/>
                    <a:pt x="293" y="96"/>
                    <a:pt x="285" y="96"/>
                  </a:cubicBezTo>
                  <a:cubicBezTo>
                    <a:pt x="277" y="96"/>
                    <a:pt x="273" y="101"/>
                    <a:pt x="273" y="110"/>
                  </a:cubicBezTo>
                  <a:cubicBezTo>
                    <a:pt x="273" y="239"/>
                    <a:pt x="273" y="239"/>
                    <a:pt x="273" y="239"/>
                  </a:cubicBezTo>
                  <a:cubicBezTo>
                    <a:pt x="273" y="248"/>
                    <a:pt x="277" y="253"/>
                    <a:pt x="285" y="253"/>
                  </a:cubicBezTo>
                  <a:cubicBezTo>
                    <a:pt x="293" y="253"/>
                    <a:pt x="297" y="248"/>
                    <a:pt x="297" y="239"/>
                  </a:cubicBezTo>
                  <a:cubicBezTo>
                    <a:pt x="297" y="199"/>
                    <a:pt x="297" y="199"/>
                    <a:pt x="297" y="199"/>
                  </a:cubicBezTo>
                  <a:cubicBezTo>
                    <a:pt x="321" y="199"/>
                    <a:pt x="321" y="199"/>
                    <a:pt x="321" y="199"/>
                  </a:cubicBezTo>
                  <a:cubicBezTo>
                    <a:pt x="321" y="229"/>
                    <a:pt x="321" y="229"/>
                    <a:pt x="321" y="229"/>
                  </a:cubicBezTo>
                  <a:cubicBezTo>
                    <a:pt x="321" y="261"/>
                    <a:pt x="309" y="277"/>
                    <a:pt x="285" y="277"/>
                  </a:cubicBezTo>
                  <a:cubicBezTo>
                    <a:pt x="261" y="277"/>
                    <a:pt x="249" y="261"/>
                    <a:pt x="249" y="229"/>
                  </a:cubicBezTo>
                  <a:cubicBezTo>
                    <a:pt x="249" y="120"/>
                    <a:pt x="249" y="120"/>
                    <a:pt x="249" y="120"/>
                  </a:cubicBezTo>
                  <a:cubicBezTo>
                    <a:pt x="249" y="88"/>
                    <a:pt x="261" y="71"/>
                    <a:pt x="285" y="71"/>
                  </a:cubicBezTo>
                  <a:cubicBezTo>
                    <a:pt x="309" y="71"/>
                    <a:pt x="321" y="88"/>
                    <a:pt x="321" y="120"/>
                  </a:cubicBezTo>
                  <a:cubicBezTo>
                    <a:pt x="321" y="149"/>
                    <a:pt x="321" y="149"/>
                    <a:pt x="321" y="149"/>
                  </a:cubicBezTo>
                  <a:cubicBezTo>
                    <a:pt x="297" y="149"/>
                    <a:pt x="297" y="149"/>
                    <a:pt x="297" y="149"/>
                  </a:cubicBezTo>
                  <a:lnTo>
                    <a:pt x="297" y="110"/>
                  </a:lnTo>
                  <a:close/>
                  <a:moveTo>
                    <a:pt x="366" y="37"/>
                  </a:moveTo>
                  <a:cubicBezTo>
                    <a:pt x="342" y="37"/>
                    <a:pt x="342" y="37"/>
                    <a:pt x="342" y="37"/>
                  </a:cubicBezTo>
                  <a:cubicBezTo>
                    <a:pt x="342" y="0"/>
                    <a:pt x="342" y="0"/>
                    <a:pt x="342" y="0"/>
                  </a:cubicBezTo>
                  <a:cubicBezTo>
                    <a:pt x="366" y="0"/>
                    <a:pt x="366" y="0"/>
                    <a:pt x="366" y="0"/>
                  </a:cubicBezTo>
                  <a:lnTo>
                    <a:pt x="366" y="37"/>
                  </a:lnTo>
                  <a:close/>
                  <a:moveTo>
                    <a:pt x="366" y="277"/>
                  </a:moveTo>
                  <a:cubicBezTo>
                    <a:pt x="342" y="277"/>
                    <a:pt x="342" y="277"/>
                    <a:pt x="342" y="277"/>
                  </a:cubicBezTo>
                  <a:cubicBezTo>
                    <a:pt x="342" y="71"/>
                    <a:pt x="342" y="71"/>
                    <a:pt x="342" y="71"/>
                  </a:cubicBezTo>
                  <a:cubicBezTo>
                    <a:pt x="366" y="71"/>
                    <a:pt x="366" y="71"/>
                    <a:pt x="366" y="71"/>
                  </a:cubicBezTo>
                  <a:lnTo>
                    <a:pt x="366" y="277"/>
                  </a:lnTo>
                  <a:close/>
                  <a:moveTo>
                    <a:pt x="436" y="185"/>
                  </a:moveTo>
                  <a:cubicBezTo>
                    <a:pt x="433" y="186"/>
                    <a:pt x="430" y="188"/>
                    <a:pt x="427" y="190"/>
                  </a:cubicBezTo>
                  <a:cubicBezTo>
                    <a:pt x="425" y="192"/>
                    <a:pt x="422" y="194"/>
                    <a:pt x="420" y="195"/>
                  </a:cubicBezTo>
                  <a:cubicBezTo>
                    <a:pt x="415" y="199"/>
                    <a:pt x="412" y="206"/>
                    <a:pt x="412" y="216"/>
                  </a:cubicBezTo>
                  <a:cubicBezTo>
                    <a:pt x="412" y="239"/>
                    <a:pt x="412" y="239"/>
                    <a:pt x="412" y="239"/>
                  </a:cubicBezTo>
                  <a:cubicBezTo>
                    <a:pt x="412" y="248"/>
                    <a:pt x="416" y="253"/>
                    <a:pt x="423" y="253"/>
                  </a:cubicBezTo>
                  <a:cubicBezTo>
                    <a:pt x="432" y="253"/>
                    <a:pt x="436" y="248"/>
                    <a:pt x="436" y="239"/>
                  </a:cubicBezTo>
                  <a:lnTo>
                    <a:pt x="436" y="185"/>
                  </a:lnTo>
                  <a:close/>
                  <a:moveTo>
                    <a:pt x="389" y="213"/>
                  </a:moveTo>
                  <a:cubicBezTo>
                    <a:pt x="389" y="197"/>
                    <a:pt x="394" y="185"/>
                    <a:pt x="407" y="176"/>
                  </a:cubicBezTo>
                  <a:cubicBezTo>
                    <a:pt x="413" y="171"/>
                    <a:pt x="418" y="167"/>
                    <a:pt x="423" y="164"/>
                  </a:cubicBezTo>
                  <a:cubicBezTo>
                    <a:pt x="429" y="161"/>
                    <a:pt x="432" y="158"/>
                    <a:pt x="436" y="155"/>
                  </a:cubicBezTo>
                  <a:cubicBezTo>
                    <a:pt x="436" y="110"/>
                    <a:pt x="436" y="110"/>
                    <a:pt x="436" y="110"/>
                  </a:cubicBezTo>
                  <a:cubicBezTo>
                    <a:pt x="436" y="101"/>
                    <a:pt x="432" y="96"/>
                    <a:pt x="425" y="96"/>
                  </a:cubicBezTo>
                  <a:cubicBezTo>
                    <a:pt x="418" y="96"/>
                    <a:pt x="415" y="101"/>
                    <a:pt x="415" y="110"/>
                  </a:cubicBezTo>
                  <a:cubicBezTo>
                    <a:pt x="415" y="149"/>
                    <a:pt x="415" y="149"/>
                    <a:pt x="415" y="149"/>
                  </a:cubicBezTo>
                  <a:cubicBezTo>
                    <a:pt x="391" y="149"/>
                    <a:pt x="391" y="149"/>
                    <a:pt x="391" y="149"/>
                  </a:cubicBezTo>
                  <a:cubicBezTo>
                    <a:pt x="391" y="120"/>
                    <a:pt x="391" y="120"/>
                    <a:pt x="391" y="120"/>
                  </a:cubicBezTo>
                  <a:cubicBezTo>
                    <a:pt x="391" y="87"/>
                    <a:pt x="402" y="71"/>
                    <a:pt x="425" y="71"/>
                  </a:cubicBezTo>
                  <a:cubicBezTo>
                    <a:pt x="449" y="71"/>
                    <a:pt x="461" y="87"/>
                    <a:pt x="461" y="120"/>
                  </a:cubicBezTo>
                  <a:cubicBezTo>
                    <a:pt x="461" y="277"/>
                    <a:pt x="461" y="277"/>
                    <a:pt x="461" y="277"/>
                  </a:cubicBezTo>
                  <a:cubicBezTo>
                    <a:pt x="436" y="277"/>
                    <a:pt x="436" y="277"/>
                    <a:pt x="436" y="277"/>
                  </a:cubicBezTo>
                  <a:cubicBezTo>
                    <a:pt x="436" y="268"/>
                    <a:pt x="436" y="268"/>
                    <a:pt x="436" y="268"/>
                  </a:cubicBezTo>
                  <a:cubicBezTo>
                    <a:pt x="432" y="275"/>
                    <a:pt x="426" y="277"/>
                    <a:pt x="417" y="277"/>
                  </a:cubicBezTo>
                  <a:cubicBezTo>
                    <a:pt x="398" y="277"/>
                    <a:pt x="389" y="261"/>
                    <a:pt x="389" y="229"/>
                  </a:cubicBezTo>
                  <a:cubicBezTo>
                    <a:pt x="389" y="213"/>
                    <a:pt x="389" y="213"/>
                    <a:pt x="389" y="213"/>
                  </a:cubicBezTo>
                  <a:close/>
                  <a:moveTo>
                    <a:pt x="524" y="109"/>
                  </a:moveTo>
                  <a:cubicBezTo>
                    <a:pt x="524" y="99"/>
                    <a:pt x="520" y="95"/>
                    <a:pt x="513" y="95"/>
                  </a:cubicBezTo>
                  <a:cubicBezTo>
                    <a:pt x="507" y="95"/>
                    <a:pt x="504" y="99"/>
                    <a:pt x="504" y="109"/>
                  </a:cubicBezTo>
                  <a:cubicBezTo>
                    <a:pt x="504" y="128"/>
                    <a:pt x="504" y="128"/>
                    <a:pt x="504" y="128"/>
                  </a:cubicBezTo>
                  <a:cubicBezTo>
                    <a:pt x="504" y="139"/>
                    <a:pt x="511" y="153"/>
                    <a:pt x="526" y="172"/>
                  </a:cubicBezTo>
                  <a:cubicBezTo>
                    <a:pt x="541" y="190"/>
                    <a:pt x="549" y="208"/>
                    <a:pt x="549" y="226"/>
                  </a:cubicBezTo>
                  <a:cubicBezTo>
                    <a:pt x="549" y="261"/>
                    <a:pt x="537" y="277"/>
                    <a:pt x="514" y="277"/>
                  </a:cubicBezTo>
                  <a:cubicBezTo>
                    <a:pt x="491" y="277"/>
                    <a:pt x="480" y="260"/>
                    <a:pt x="480" y="225"/>
                  </a:cubicBezTo>
                  <a:cubicBezTo>
                    <a:pt x="480" y="216"/>
                    <a:pt x="480" y="216"/>
                    <a:pt x="480" y="216"/>
                  </a:cubicBezTo>
                  <a:cubicBezTo>
                    <a:pt x="504" y="216"/>
                    <a:pt x="504" y="216"/>
                    <a:pt x="504" y="216"/>
                  </a:cubicBezTo>
                  <a:cubicBezTo>
                    <a:pt x="504" y="240"/>
                    <a:pt x="504" y="240"/>
                    <a:pt x="504" y="240"/>
                  </a:cubicBezTo>
                  <a:cubicBezTo>
                    <a:pt x="504" y="249"/>
                    <a:pt x="507" y="254"/>
                    <a:pt x="514" y="254"/>
                  </a:cubicBezTo>
                  <a:cubicBezTo>
                    <a:pt x="521" y="254"/>
                    <a:pt x="525" y="249"/>
                    <a:pt x="525" y="240"/>
                  </a:cubicBezTo>
                  <a:cubicBezTo>
                    <a:pt x="525" y="221"/>
                    <a:pt x="525" y="221"/>
                    <a:pt x="525" y="221"/>
                  </a:cubicBezTo>
                  <a:cubicBezTo>
                    <a:pt x="525" y="209"/>
                    <a:pt x="517" y="195"/>
                    <a:pt x="502" y="180"/>
                  </a:cubicBezTo>
                  <a:cubicBezTo>
                    <a:pt x="488" y="164"/>
                    <a:pt x="480" y="145"/>
                    <a:pt x="480" y="123"/>
                  </a:cubicBezTo>
                  <a:cubicBezTo>
                    <a:pt x="480" y="89"/>
                    <a:pt x="491" y="71"/>
                    <a:pt x="513" y="71"/>
                  </a:cubicBezTo>
                  <a:cubicBezTo>
                    <a:pt x="536" y="71"/>
                    <a:pt x="547" y="89"/>
                    <a:pt x="547" y="123"/>
                  </a:cubicBezTo>
                  <a:cubicBezTo>
                    <a:pt x="547" y="141"/>
                    <a:pt x="547" y="141"/>
                    <a:pt x="547" y="141"/>
                  </a:cubicBezTo>
                  <a:cubicBezTo>
                    <a:pt x="524" y="141"/>
                    <a:pt x="524" y="141"/>
                    <a:pt x="524" y="141"/>
                  </a:cubicBezTo>
                  <a:cubicBezTo>
                    <a:pt x="524" y="109"/>
                    <a:pt x="524" y="109"/>
                    <a:pt x="524" y="10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5638802" y="3040074"/>
              <a:ext cx="2481263" cy="415529"/>
            </a:xfrm>
            <a:custGeom>
              <a:avLst/>
              <a:gdLst/>
              <a:ahLst/>
              <a:cxnLst>
                <a:cxn ang="0">
                  <a:pos x="22" y="57"/>
                </a:cxn>
                <a:cxn ang="0">
                  <a:pos x="29" y="159"/>
                </a:cxn>
                <a:cxn ang="0">
                  <a:pos x="29" y="48"/>
                </a:cxn>
                <a:cxn ang="0">
                  <a:pos x="0" y="173"/>
                </a:cxn>
                <a:cxn ang="0">
                  <a:pos x="71" y="66"/>
                </a:cxn>
                <a:cxn ang="0">
                  <a:pos x="100" y="137"/>
                </a:cxn>
                <a:cxn ang="0">
                  <a:pos x="100" y="72"/>
                </a:cxn>
                <a:cxn ang="0">
                  <a:pos x="161" y="58"/>
                </a:cxn>
                <a:cxn ang="0">
                  <a:pos x="153" y="43"/>
                </a:cxn>
                <a:cxn ang="0">
                  <a:pos x="190" y="129"/>
                </a:cxn>
                <a:cxn ang="0">
                  <a:pos x="175" y="128"/>
                </a:cxn>
                <a:cxn ang="0">
                  <a:pos x="198" y="58"/>
                </a:cxn>
                <a:cxn ang="0">
                  <a:pos x="198" y="43"/>
                </a:cxn>
                <a:cxn ang="0">
                  <a:pos x="193" y="166"/>
                </a:cxn>
                <a:cxn ang="0">
                  <a:pos x="232" y="0"/>
                </a:cxn>
                <a:cxn ang="0">
                  <a:pos x="232" y="43"/>
                </a:cxn>
                <a:cxn ang="0">
                  <a:pos x="274" y="66"/>
                </a:cxn>
                <a:cxn ang="0">
                  <a:pos x="259" y="0"/>
                </a:cxn>
                <a:cxn ang="0">
                  <a:pos x="303" y="137"/>
                </a:cxn>
                <a:cxn ang="0">
                  <a:pos x="259" y="0"/>
                </a:cxn>
                <a:cxn ang="0">
                  <a:pos x="316" y="166"/>
                </a:cxn>
                <a:cxn ang="0">
                  <a:pos x="359" y="72"/>
                </a:cxn>
                <a:cxn ang="0">
                  <a:pos x="449" y="58"/>
                </a:cxn>
                <a:cxn ang="0">
                  <a:pos x="420" y="58"/>
                </a:cxn>
                <a:cxn ang="0">
                  <a:pos x="413" y="43"/>
                </a:cxn>
                <a:cxn ang="0">
                  <a:pos x="471" y="72"/>
                </a:cxn>
                <a:cxn ang="0">
                  <a:pos x="508" y="114"/>
                </a:cxn>
                <a:cxn ang="0">
                  <a:pos x="513" y="143"/>
                </a:cxn>
                <a:cxn ang="0">
                  <a:pos x="513" y="93"/>
                </a:cxn>
                <a:cxn ang="0">
                  <a:pos x="485" y="89"/>
                </a:cxn>
                <a:cxn ang="0">
                  <a:pos x="513" y="166"/>
                </a:cxn>
                <a:cxn ang="0">
                  <a:pos x="555" y="23"/>
                </a:cxn>
                <a:cxn ang="0">
                  <a:pos x="555" y="166"/>
                </a:cxn>
                <a:cxn ang="0">
                  <a:pos x="563" y="43"/>
                </a:cxn>
                <a:cxn ang="0">
                  <a:pos x="590" y="43"/>
                </a:cxn>
                <a:cxn ang="0">
                  <a:pos x="590" y="166"/>
                </a:cxn>
                <a:cxn ang="0">
                  <a:pos x="630" y="66"/>
                </a:cxn>
                <a:cxn ang="0">
                  <a:pos x="601" y="0"/>
                </a:cxn>
                <a:cxn ang="0">
                  <a:pos x="644" y="166"/>
                </a:cxn>
                <a:cxn ang="0">
                  <a:pos x="702" y="118"/>
                </a:cxn>
                <a:cxn ang="0">
                  <a:pos x="712" y="111"/>
                </a:cxn>
                <a:cxn ang="0">
                  <a:pos x="712" y="66"/>
                </a:cxn>
                <a:cxn ang="0">
                  <a:pos x="685" y="72"/>
                </a:cxn>
                <a:cxn ang="0">
                  <a:pos x="712" y="161"/>
                </a:cxn>
                <a:cxn ang="0">
                  <a:pos x="762" y="149"/>
                </a:cxn>
                <a:cxn ang="0">
                  <a:pos x="754" y="141"/>
                </a:cxn>
                <a:cxn ang="0">
                  <a:pos x="740" y="134"/>
                </a:cxn>
                <a:cxn ang="0">
                  <a:pos x="783" y="43"/>
                </a:cxn>
                <a:cxn ang="0">
                  <a:pos x="761" y="181"/>
                </a:cxn>
                <a:cxn ang="0">
                  <a:pos x="811" y="143"/>
                </a:cxn>
                <a:cxn ang="0">
                  <a:pos x="808" y="106"/>
                </a:cxn>
                <a:cxn ang="0">
                  <a:pos x="812" y="66"/>
                </a:cxn>
                <a:cxn ang="0">
                  <a:pos x="840" y="72"/>
                </a:cxn>
                <a:cxn ang="0">
                  <a:pos x="797" y="137"/>
                </a:cxn>
                <a:cxn ang="0">
                  <a:pos x="868" y="0"/>
                </a:cxn>
                <a:cxn ang="0">
                  <a:pos x="868" y="143"/>
                </a:cxn>
                <a:cxn ang="0">
                  <a:pos x="848" y="58"/>
                </a:cxn>
              </a:cxnLst>
              <a:rect l="0" t="0" r="r" b="b"/>
              <a:pathLst>
                <a:path w="875" h="196">
                  <a:moveTo>
                    <a:pt x="14" y="141"/>
                  </a:moveTo>
                  <a:cubicBezTo>
                    <a:pt x="14" y="146"/>
                    <a:pt x="17" y="149"/>
                    <a:pt x="22" y="149"/>
                  </a:cubicBezTo>
                  <a:cubicBezTo>
                    <a:pt x="26" y="149"/>
                    <a:pt x="28" y="146"/>
                    <a:pt x="29" y="142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1"/>
                    <a:pt x="26" y="57"/>
                    <a:pt x="22" y="57"/>
                  </a:cubicBezTo>
                  <a:cubicBezTo>
                    <a:pt x="17" y="57"/>
                    <a:pt x="14" y="60"/>
                    <a:pt x="14" y="66"/>
                  </a:cubicBezTo>
                  <a:lnTo>
                    <a:pt x="14" y="141"/>
                  </a:lnTo>
                  <a:close/>
                  <a:moveTo>
                    <a:pt x="21" y="181"/>
                  </a:moveTo>
                  <a:cubicBezTo>
                    <a:pt x="26" y="181"/>
                    <a:pt x="29" y="178"/>
                    <a:pt x="29" y="173"/>
                  </a:cubicBezTo>
                  <a:cubicBezTo>
                    <a:pt x="29" y="159"/>
                    <a:pt x="29" y="159"/>
                    <a:pt x="29" y="159"/>
                  </a:cubicBezTo>
                  <a:cubicBezTo>
                    <a:pt x="27" y="162"/>
                    <a:pt x="23" y="164"/>
                    <a:pt x="16" y="164"/>
                  </a:cubicBezTo>
                  <a:cubicBezTo>
                    <a:pt x="5" y="164"/>
                    <a:pt x="0" y="154"/>
                    <a:pt x="0" y="13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52"/>
                    <a:pt x="5" y="43"/>
                    <a:pt x="16" y="43"/>
                  </a:cubicBezTo>
                  <a:cubicBezTo>
                    <a:pt x="21" y="43"/>
                    <a:pt x="25" y="45"/>
                    <a:pt x="29" y="48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3" y="166"/>
                    <a:pt x="43" y="166"/>
                    <a:pt x="43" y="166"/>
                  </a:cubicBezTo>
                  <a:cubicBezTo>
                    <a:pt x="43" y="186"/>
                    <a:pt x="36" y="196"/>
                    <a:pt x="21" y="196"/>
                  </a:cubicBezTo>
                  <a:cubicBezTo>
                    <a:pt x="8" y="196"/>
                    <a:pt x="2" y="188"/>
                    <a:pt x="0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9"/>
                    <a:pt x="17" y="181"/>
                    <a:pt x="21" y="181"/>
                  </a:cubicBezTo>
                  <a:close/>
                  <a:moveTo>
                    <a:pt x="86" y="66"/>
                  </a:moveTo>
                  <a:cubicBezTo>
                    <a:pt x="86" y="61"/>
                    <a:pt x="83" y="58"/>
                    <a:pt x="78" y="58"/>
                  </a:cubicBezTo>
                  <a:cubicBezTo>
                    <a:pt x="73" y="58"/>
                    <a:pt x="71" y="61"/>
                    <a:pt x="71" y="66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71" y="149"/>
                    <a:pt x="73" y="152"/>
                    <a:pt x="78" y="152"/>
                  </a:cubicBezTo>
                  <a:cubicBezTo>
                    <a:pt x="83" y="152"/>
                    <a:pt x="86" y="149"/>
                    <a:pt x="86" y="143"/>
                  </a:cubicBezTo>
                  <a:lnTo>
                    <a:pt x="86" y="66"/>
                  </a:lnTo>
                  <a:close/>
                  <a:moveTo>
                    <a:pt x="100" y="137"/>
                  </a:moveTo>
                  <a:cubicBezTo>
                    <a:pt x="100" y="157"/>
                    <a:pt x="93" y="166"/>
                    <a:pt x="78" y="166"/>
                  </a:cubicBezTo>
                  <a:cubicBezTo>
                    <a:pt x="64" y="166"/>
                    <a:pt x="57" y="157"/>
                    <a:pt x="57" y="137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52"/>
                    <a:pt x="64" y="43"/>
                    <a:pt x="78" y="43"/>
                  </a:cubicBezTo>
                  <a:cubicBezTo>
                    <a:pt x="93" y="43"/>
                    <a:pt x="100" y="52"/>
                    <a:pt x="100" y="72"/>
                  </a:cubicBezTo>
                  <a:lnTo>
                    <a:pt x="100" y="137"/>
                  </a:lnTo>
                  <a:close/>
                  <a:moveTo>
                    <a:pt x="153" y="48"/>
                  </a:moveTo>
                  <a:cubicBezTo>
                    <a:pt x="155" y="45"/>
                    <a:pt x="159" y="43"/>
                    <a:pt x="166" y="43"/>
                  </a:cubicBezTo>
                  <a:cubicBezTo>
                    <a:pt x="166" y="61"/>
                    <a:pt x="166" y="61"/>
                    <a:pt x="166" y="61"/>
                  </a:cubicBezTo>
                  <a:cubicBezTo>
                    <a:pt x="164" y="59"/>
                    <a:pt x="163" y="58"/>
                    <a:pt x="161" y="58"/>
                  </a:cubicBezTo>
                  <a:cubicBezTo>
                    <a:pt x="155" y="58"/>
                    <a:pt x="153" y="61"/>
                    <a:pt x="153" y="66"/>
                  </a:cubicBezTo>
                  <a:cubicBezTo>
                    <a:pt x="153" y="166"/>
                    <a:pt x="153" y="166"/>
                    <a:pt x="153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53" y="43"/>
                    <a:pt x="153" y="43"/>
                    <a:pt x="153" y="43"/>
                  </a:cubicBezTo>
                  <a:lnTo>
                    <a:pt x="153" y="48"/>
                  </a:lnTo>
                  <a:close/>
                  <a:moveTo>
                    <a:pt x="204" y="111"/>
                  </a:moveTo>
                  <a:cubicBezTo>
                    <a:pt x="202" y="112"/>
                    <a:pt x="200" y="113"/>
                    <a:pt x="199" y="114"/>
                  </a:cubicBezTo>
                  <a:cubicBezTo>
                    <a:pt x="197" y="115"/>
                    <a:pt x="195" y="116"/>
                    <a:pt x="194" y="118"/>
                  </a:cubicBezTo>
                  <a:cubicBezTo>
                    <a:pt x="191" y="120"/>
                    <a:pt x="190" y="124"/>
                    <a:pt x="190" y="129"/>
                  </a:cubicBezTo>
                  <a:cubicBezTo>
                    <a:pt x="190" y="143"/>
                    <a:pt x="190" y="143"/>
                    <a:pt x="190" y="143"/>
                  </a:cubicBezTo>
                  <a:cubicBezTo>
                    <a:pt x="190" y="149"/>
                    <a:pt x="192" y="152"/>
                    <a:pt x="196" y="152"/>
                  </a:cubicBezTo>
                  <a:cubicBezTo>
                    <a:pt x="202" y="152"/>
                    <a:pt x="204" y="149"/>
                    <a:pt x="204" y="143"/>
                  </a:cubicBezTo>
                  <a:lnTo>
                    <a:pt x="204" y="111"/>
                  </a:lnTo>
                  <a:close/>
                  <a:moveTo>
                    <a:pt x="175" y="128"/>
                  </a:moveTo>
                  <a:cubicBezTo>
                    <a:pt x="175" y="118"/>
                    <a:pt x="179" y="111"/>
                    <a:pt x="186" y="106"/>
                  </a:cubicBezTo>
                  <a:cubicBezTo>
                    <a:pt x="190" y="103"/>
                    <a:pt x="193" y="101"/>
                    <a:pt x="196" y="98"/>
                  </a:cubicBezTo>
                  <a:cubicBezTo>
                    <a:pt x="199" y="96"/>
                    <a:pt x="202" y="95"/>
                    <a:pt x="204" y="93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61"/>
                    <a:pt x="202" y="58"/>
                    <a:pt x="198" y="58"/>
                  </a:cubicBezTo>
                  <a:cubicBezTo>
                    <a:pt x="193" y="58"/>
                    <a:pt x="191" y="61"/>
                    <a:pt x="191" y="66"/>
                  </a:cubicBezTo>
                  <a:cubicBezTo>
                    <a:pt x="191" y="89"/>
                    <a:pt x="191" y="89"/>
                    <a:pt x="191" y="89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7" y="72"/>
                    <a:pt x="177" y="72"/>
                    <a:pt x="177" y="72"/>
                  </a:cubicBezTo>
                  <a:cubicBezTo>
                    <a:pt x="177" y="52"/>
                    <a:pt x="184" y="43"/>
                    <a:pt x="198" y="43"/>
                  </a:cubicBezTo>
                  <a:cubicBezTo>
                    <a:pt x="212" y="43"/>
                    <a:pt x="218" y="52"/>
                    <a:pt x="218" y="72"/>
                  </a:cubicBezTo>
                  <a:cubicBezTo>
                    <a:pt x="218" y="166"/>
                    <a:pt x="218" y="166"/>
                    <a:pt x="218" y="166"/>
                  </a:cubicBezTo>
                  <a:cubicBezTo>
                    <a:pt x="204" y="166"/>
                    <a:pt x="204" y="166"/>
                    <a:pt x="204" y="166"/>
                  </a:cubicBezTo>
                  <a:cubicBezTo>
                    <a:pt x="204" y="161"/>
                    <a:pt x="204" y="161"/>
                    <a:pt x="204" y="161"/>
                  </a:cubicBezTo>
                  <a:cubicBezTo>
                    <a:pt x="202" y="165"/>
                    <a:pt x="198" y="166"/>
                    <a:pt x="193" y="166"/>
                  </a:cubicBezTo>
                  <a:cubicBezTo>
                    <a:pt x="181" y="166"/>
                    <a:pt x="175" y="157"/>
                    <a:pt x="175" y="137"/>
                  </a:cubicBezTo>
                  <a:cubicBezTo>
                    <a:pt x="175" y="128"/>
                    <a:pt x="175" y="128"/>
                    <a:pt x="175" y="128"/>
                  </a:cubicBezTo>
                  <a:close/>
                  <a:moveTo>
                    <a:pt x="246" y="23"/>
                  </a:moveTo>
                  <a:cubicBezTo>
                    <a:pt x="232" y="23"/>
                    <a:pt x="232" y="23"/>
                    <a:pt x="232" y="23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46" y="0"/>
                    <a:pt x="246" y="0"/>
                    <a:pt x="246" y="0"/>
                  </a:cubicBezTo>
                  <a:lnTo>
                    <a:pt x="246" y="23"/>
                  </a:lnTo>
                  <a:close/>
                  <a:moveTo>
                    <a:pt x="246" y="166"/>
                  </a:moveTo>
                  <a:cubicBezTo>
                    <a:pt x="232" y="166"/>
                    <a:pt x="232" y="166"/>
                    <a:pt x="232" y="166"/>
                  </a:cubicBezTo>
                  <a:cubicBezTo>
                    <a:pt x="232" y="43"/>
                    <a:pt x="232" y="43"/>
                    <a:pt x="232" y="43"/>
                  </a:cubicBezTo>
                  <a:cubicBezTo>
                    <a:pt x="246" y="43"/>
                    <a:pt x="246" y="43"/>
                    <a:pt x="246" y="43"/>
                  </a:cubicBezTo>
                  <a:lnTo>
                    <a:pt x="246" y="166"/>
                  </a:lnTo>
                  <a:close/>
                  <a:moveTo>
                    <a:pt x="289" y="66"/>
                  </a:moveTo>
                  <a:cubicBezTo>
                    <a:pt x="289" y="61"/>
                    <a:pt x="286" y="58"/>
                    <a:pt x="281" y="58"/>
                  </a:cubicBezTo>
                  <a:cubicBezTo>
                    <a:pt x="276" y="58"/>
                    <a:pt x="274" y="61"/>
                    <a:pt x="274" y="66"/>
                  </a:cubicBezTo>
                  <a:cubicBezTo>
                    <a:pt x="274" y="143"/>
                    <a:pt x="274" y="143"/>
                    <a:pt x="274" y="143"/>
                  </a:cubicBezTo>
                  <a:cubicBezTo>
                    <a:pt x="274" y="149"/>
                    <a:pt x="276" y="152"/>
                    <a:pt x="281" y="152"/>
                  </a:cubicBezTo>
                  <a:cubicBezTo>
                    <a:pt x="286" y="152"/>
                    <a:pt x="289" y="149"/>
                    <a:pt x="289" y="143"/>
                  </a:cubicBezTo>
                  <a:lnTo>
                    <a:pt x="289" y="66"/>
                  </a:lnTo>
                  <a:close/>
                  <a:moveTo>
                    <a:pt x="259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274" y="48"/>
                    <a:pt x="274" y="48"/>
                    <a:pt x="274" y="48"/>
                  </a:cubicBezTo>
                  <a:cubicBezTo>
                    <a:pt x="276" y="45"/>
                    <a:pt x="280" y="43"/>
                    <a:pt x="286" y="43"/>
                  </a:cubicBezTo>
                  <a:cubicBezTo>
                    <a:pt x="297" y="43"/>
                    <a:pt x="303" y="52"/>
                    <a:pt x="303" y="72"/>
                  </a:cubicBezTo>
                  <a:cubicBezTo>
                    <a:pt x="303" y="137"/>
                    <a:pt x="303" y="137"/>
                    <a:pt x="303" y="137"/>
                  </a:cubicBezTo>
                  <a:cubicBezTo>
                    <a:pt x="303" y="157"/>
                    <a:pt x="297" y="166"/>
                    <a:pt x="284" y="166"/>
                  </a:cubicBezTo>
                  <a:cubicBezTo>
                    <a:pt x="276" y="166"/>
                    <a:pt x="271" y="164"/>
                    <a:pt x="268" y="157"/>
                  </a:cubicBezTo>
                  <a:cubicBezTo>
                    <a:pt x="266" y="166"/>
                    <a:pt x="266" y="166"/>
                    <a:pt x="266" y="166"/>
                  </a:cubicBezTo>
                  <a:cubicBezTo>
                    <a:pt x="259" y="166"/>
                    <a:pt x="259" y="166"/>
                    <a:pt x="259" y="166"/>
                  </a:cubicBezTo>
                  <a:cubicBezTo>
                    <a:pt x="259" y="0"/>
                    <a:pt x="259" y="0"/>
                    <a:pt x="259" y="0"/>
                  </a:cubicBezTo>
                  <a:close/>
                  <a:moveTo>
                    <a:pt x="345" y="66"/>
                  </a:moveTo>
                  <a:cubicBezTo>
                    <a:pt x="345" y="61"/>
                    <a:pt x="343" y="58"/>
                    <a:pt x="338" y="58"/>
                  </a:cubicBezTo>
                  <a:cubicBezTo>
                    <a:pt x="333" y="58"/>
                    <a:pt x="331" y="61"/>
                    <a:pt x="331" y="66"/>
                  </a:cubicBezTo>
                  <a:cubicBezTo>
                    <a:pt x="331" y="166"/>
                    <a:pt x="331" y="166"/>
                    <a:pt x="331" y="166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31" y="48"/>
                    <a:pt x="331" y="48"/>
                    <a:pt x="331" y="48"/>
                  </a:cubicBezTo>
                  <a:cubicBezTo>
                    <a:pt x="332" y="45"/>
                    <a:pt x="336" y="43"/>
                    <a:pt x="343" y="43"/>
                  </a:cubicBezTo>
                  <a:cubicBezTo>
                    <a:pt x="354" y="43"/>
                    <a:pt x="359" y="52"/>
                    <a:pt x="359" y="72"/>
                  </a:cubicBezTo>
                  <a:cubicBezTo>
                    <a:pt x="359" y="166"/>
                    <a:pt x="359" y="166"/>
                    <a:pt x="359" y="166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5" y="66"/>
                    <a:pt x="345" y="66"/>
                    <a:pt x="345" y="66"/>
                  </a:cubicBezTo>
                  <a:close/>
                  <a:moveTo>
                    <a:pt x="456" y="66"/>
                  </a:moveTo>
                  <a:cubicBezTo>
                    <a:pt x="456" y="61"/>
                    <a:pt x="454" y="58"/>
                    <a:pt x="449" y="58"/>
                  </a:cubicBezTo>
                  <a:cubicBezTo>
                    <a:pt x="444" y="58"/>
                    <a:pt x="442" y="61"/>
                    <a:pt x="442" y="66"/>
                  </a:cubicBezTo>
                  <a:cubicBezTo>
                    <a:pt x="442" y="166"/>
                    <a:pt x="442" y="166"/>
                    <a:pt x="442" y="166"/>
                  </a:cubicBezTo>
                  <a:cubicBezTo>
                    <a:pt x="427" y="166"/>
                    <a:pt x="427" y="166"/>
                    <a:pt x="427" y="166"/>
                  </a:cubicBezTo>
                  <a:cubicBezTo>
                    <a:pt x="427" y="66"/>
                    <a:pt x="427" y="66"/>
                    <a:pt x="427" y="66"/>
                  </a:cubicBezTo>
                  <a:cubicBezTo>
                    <a:pt x="427" y="61"/>
                    <a:pt x="425" y="58"/>
                    <a:pt x="420" y="58"/>
                  </a:cubicBezTo>
                  <a:cubicBezTo>
                    <a:pt x="415" y="58"/>
                    <a:pt x="413" y="61"/>
                    <a:pt x="413" y="66"/>
                  </a:cubicBezTo>
                  <a:cubicBezTo>
                    <a:pt x="413" y="166"/>
                    <a:pt x="413" y="166"/>
                    <a:pt x="413" y="166"/>
                  </a:cubicBezTo>
                  <a:cubicBezTo>
                    <a:pt x="399" y="166"/>
                    <a:pt x="399" y="166"/>
                    <a:pt x="399" y="166"/>
                  </a:cubicBezTo>
                  <a:cubicBezTo>
                    <a:pt x="399" y="43"/>
                    <a:pt x="399" y="43"/>
                    <a:pt x="399" y="43"/>
                  </a:cubicBezTo>
                  <a:cubicBezTo>
                    <a:pt x="413" y="43"/>
                    <a:pt x="413" y="43"/>
                    <a:pt x="413" y="43"/>
                  </a:cubicBezTo>
                  <a:cubicBezTo>
                    <a:pt x="413" y="48"/>
                    <a:pt x="413" y="48"/>
                    <a:pt x="413" y="48"/>
                  </a:cubicBezTo>
                  <a:cubicBezTo>
                    <a:pt x="415" y="45"/>
                    <a:pt x="418" y="43"/>
                    <a:pt x="425" y="43"/>
                  </a:cubicBezTo>
                  <a:cubicBezTo>
                    <a:pt x="431" y="43"/>
                    <a:pt x="435" y="46"/>
                    <a:pt x="439" y="51"/>
                  </a:cubicBezTo>
                  <a:cubicBezTo>
                    <a:pt x="441" y="46"/>
                    <a:pt x="447" y="43"/>
                    <a:pt x="454" y="43"/>
                  </a:cubicBezTo>
                  <a:cubicBezTo>
                    <a:pt x="465" y="43"/>
                    <a:pt x="471" y="52"/>
                    <a:pt x="471" y="72"/>
                  </a:cubicBezTo>
                  <a:cubicBezTo>
                    <a:pt x="471" y="166"/>
                    <a:pt x="471" y="166"/>
                    <a:pt x="471" y="166"/>
                  </a:cubicBezTo>
                  <a:cubicBezTo>
                    <a:pt x="456" y="166"/>
                    <a:pt x="456" y="166"/>
                    <a:pt x="456" y="166"/>
                  </a:cubicBezTo>
                  <a:cubicBezTo>
                    <a:pt x="456" y="66"/>
                    <a:pt x="456" y="66"/>
                    <a:pt x="456" y="66"/>
                  </a:cubicBezTo>
                  <a:close/>
                  <a:moveTo>
                    <a:pt x="513" y="111"/>
                  </a:moveTo>
                  <a:cubicBezTo>
                    <a:pt x="511" y="112"/>
                    <a:pt x="509" y="113"/>
                    <a:pt x="508" y="114"/>
                  </a:cubicBezTo>
                  <a:cubicBezTo>
                    <a:pt x="506" y="115"/>
                    <a:pt x="504" y="116"/>
                    <a:pt x="503" y="118"/>
                  </a:cubicBezTo>
                  <a:cubicBezTo>
                    <a:pt x="500" y="120"/>
                    <a:pt x="498" y="124"/>
                    <a:pt x="498" y="129"/>
                  </a:cubicBezTo>
                  <a:cubicBezTo>
                    <a:pt x="498" y="143"/>
                    <a:pt x="498" y="143"/>
                    <a:pt x="498" y="143"/>
                  </a:cubicBezTo>
                  <a:cubicBezTo>
                    <a:pt x="498" y="149"/>
                    <a:pt x="500" y="152"/>
                    <a:pt x="505" y="152"/>
                  </a:cubicBezTo>
                  <a:cubicBezTo>
                    <a:pt x="510" y="152"/>
                    <a:pt x="513" y="149"/>
                    <a:pt x="513" y="143"/>
                  </a:cubicBezTo>
                  <a:cubicBezTo>
                    <a:pt x="513" y="111"/>
                    <a:pt x="513" y="111"/>
                    <a:pt x="513" y="111"/>
                  </a:cubicBezTo>
                  <a:close/>
                  <a:moveTo>
                    <a:pt x="484" y="128"/>
                  </a:moveTo>
                  <a:cubicBezTo>
                    <a:pt x="484" y="118"/>
                    <a:pt x="488" y="111"/>
                    <a:pt x="495" y="106"/>
                  </a:cubicBezTo>
                  <a:cubicBezTo>
                    <a:pt x="499" y="103"/>
                    <a:pt x="502" y="101"/>
                    <a:pt x="505" y="98"/>
                  </a:cubicBezTo>
                  <a:cubicBezTo>
                    <a:pt x="508" y="96"/>
                    <a:pt x="511" y="95"/>
                    <a:pt x="513" y="93"/>
                  </a:cubicBezTo>
                  <a:cubicBezTo>
                    <a:pt x="513" y="66"/>
                    <a:pt x="513" y="66"/>
                    <a:pt x="513" y="66"/>
                  </a:cubicBezTo>
                  <a:cubicBezTo>
                    <a:pt x="513" y="61"/>
                    <a:pt x="511" y="58"/>
                    <a:pt x="506" y="58"/>
                  </a:cubicBezTo>
                  <a:cubicBezTo>
                    <a:pt x="502" y="58"/>
                    <a:pt x="500" y="61"/>
                    <a:pt x="500" y="66"/>
                  </a:cubicBezTo>
                  <a:cubicBezTo>
                    <a:pt x="500" y="89"/>
                    <a:pt x="500" y="89"/>
                    <a:pt x="500" y="89"/>
                  </a:cubicBezTo>
                  <a:cubicBezTo>
                    <a:pt x="485" y="89"/>
                    <a:pt x="485" y="89"/>
                    <a:pt x="485" y="89"/>
                  </a:cubicBezTo>
                  <a:cubicBezTo>
                    <a:pt x="485" y="72"/>
                    <a:pt x="485" y="72"/>
                    <a:pt x="485" y="72"/>
                  </a:cubicBezTo>
                  <a:cubicBezTo>
                    <a:pt x="485" y="52"/>
                    <a:pt x="493" y="43"/>
                    <a:pt x="506" y="43"/>
                  </a:cubicBezTo>
                  <a:cubicBezTo>
                    <a:pt x="520" y="43"/>
                    <a:pt x="527" y="52"/>
                    <a:pt x="527" y="72"/>
                  </a:cubicBezTo>
                  <a:cubicBezTo>
                    <a:pt x="527" y="166"/>
                    <a:pt x="527" y="166"/>
                    <a:pt x="527" y="166"/>
                  </a:cubicBezTo>
                  <a:cubicBezTo>
                    <a:pt x="513" y="166"/>
                    <a:pt x="513" y="166"/>
                    <a:pt x="513" y="166"/>
                  </a:cubicBezTo>
                  <a:cubicBezTo>
                    <a:pt x="513" y="161"/>
                    <a:pt x="513" y="161"/>
                    <a:pt x="513" y="161"/>
                  </a:cubicBezTo>
                  <a:cubicBezTo>
                    <a:pt x="511" y="165"/>
                    <a:pt x="507" y="166"/>
                    <a:pt x="501" y="166"/>
                  </a:cubicBezTo>
                  <a:cubicBezTo>
                    <a:pt x="490" y="166"/>
                    <a:pt x="484" y="157"/>
                    <a:pt x="484" y="137"/>
                  </a:cubicBezTo>
                  <a:lnTo>
                    <a:pt x="484" y="128"/>
                  </a:lnTo>
                  <a:close/>
                  <a:moveTo>
                    <a:pt x="555" y="23"/>
                  </a:moveTo>
                  <a:cubicBezTo>
                    <a:pt x="540" y="23"/>
                    <a:pt x="540" y="23"/>
                    <a:pt x="540" y="23"/>
                  </a:cubicBezTo>
                  <a:cubicBezTo>
                    <a:pt x="540" y="0"/>
                    <a:pt x="540" y="0"/>
                    <a:pt x="540" y="0"/>
                  </a:cubicBezTo>
                  <a:cubicBezTo>
                    <a:pt x="555" y="0"/>
                    <a:pt x="555" y="0"/>
                    <a:pt x="555" y="0"/>
                  </a:cubicBezTo>
                  <a:lnTo>
                    <a:pt x="555" y="23"/>
                  </a:lnTo>
                  <a:close/>
                  <a:moveTo>
                    <a:pt x="555" y="166"/>
                  </a:moveTo>
                  <a:cubicBezTo>
                    <a:pt x="540" y="166"/>
                    <a:pt x="540" y="166"/>
                    <a:pt x="540" y="166"/>
                  </a:cubicBezTo>
                  <a:cubicBezTo>
                    <a:pt x="540" y="43"/>
                    <a:pt x="540" y="43"/>
                    <a:pt x="540" y="43"/>
                  </a:cubicBezTo>
                  <a:cubicBezTo>
                    <a:pt x="555" y="43"/>
                    <a:pt x="555" y="43"/>
                    <a:pt x="555" y="43"/>
                  </a:cubicBezTo>
                  <a:lnTo>
                    <a:pt x="555" y="166"/>
                  </a:lnTo>
                  <a:close/>
                  <a:moveTo>
                    <a:pt x="563" y="43"/>
                  </a:moveTo>
                  <a:cubicBezTo>
                    <a:pt x="568" y="43"/>
                    <a:pt x="568" y="43"/>
                    <a:pt x="568" y="43"/>
                  </a:cubicBezTo>
                  <a:cubicBezTo>
                    <a:pt x="568" y="0"/>
                    <a:pt x="568" y="0"/>
                    <a:pt x="568" y="0"/>
                  </a:cubicBezTo>
                  <a:cubicBezTo>
                    <a:pt x="583" y="0"/>
                    <a:pt x="583" y="0"/>
                    <a:pt x="583" y="0"/>
                  </a:cubicBezTo>
                  <a:cubicBezTo>
                    <a:pt x="583" y="43"/>
                    <a:pt x="583" y="43"/>
                    <a:pt x="583" y="43"/>
                  </a:cubicBezTo>
                  <a:cubicBezTo>
                    <a:pt x="590" y="43"/>
                    <a:pt x="590" y="43"/>
                    <a:pt x="590" y="43"/>
                  </a:cubicBezTo>
                  <a:cubicBezTo>
                    <a:pt x="590" y="58"/>
                    <a:pt x="590" y="58"/>
                    <a:pt x="590" y="58"/>
                  </a:cubicBezTo>
                  <a:cubicBezTo>
                    <a:pt x="583" y="58"/>
                    <a:pt x="583" y="58"/>
                    <a:pt x="583" y="58"/>
                  </a:cubicBezTo>
                  <a:cubicBezTo>
                    <a:pt x="583" y="143"/>
                    <a:pt x="583" y="143"/>
                    <a:pt x="583" y="143"/>
                  </a:cubicBezTo>
                  <a:cubicBezTo>
                    <a:pt x="583" y="149"/>
                    <a:pt x="585" y="152"/>
                    <a:pt x="590" y="152"/>
                  </a:cubicBezTo>
                  <a:cubicBezTo>
                    <a:pt x="590" y="166"/>
                    <a:pt x="590" y="166"/>
                    <a:pt x="590" y="166"/>
                  </a:cubicBezTo>
                  <a:cubicBezTo>
                    <a:pt x="576" y="166"/>
                    <a:pt x="568" y="157"/>
                    <a:pt x="568" y="137"/>
                  </a:cubicBezTo>
                  <a:cubicBezTo>
                    <a:pt x="568" y="58"/>
                    <a:pt x="568" y="58"/>
                    <a:pt x="568" y="58"/>
                  </a:cubicBezTo>
                  <a:cubicBezTo>
                    <a:pt x="563" y="58"/>
                    <a:pt x="563" y="58"/>
                    <a:pt x="563" y="58"/>
                  </a:cubicBezTo>
                  <a:lnTo>
                    <a:pt x="563" y="43"/>
                  </a:lnTo>
                  <a:close/>
                  <a:moveTo>
                    <a:pt x="630" y="66"/>
                  </a:moveTo>
                  <a:cubicBezTo>
                    <a:pt x="630" y="61"/>
                    <a:pt x="627" y="58"/>
                    <a:pt x="623" y="58"/>
                  </a:cubicBezTo>
                  <a:cubicBezTo>
                    <a:pt x="618" y="58"/>
                    <a:pt x="616" y="61"/>
                    <a:pt x="616" y="66"/>
                  </a:cubicBezTo>
                  <a:cubicBezTo>
                    <a:pt x="616" y="166"/>
                    <a:pt x="616" y="166"/>
                    <a:pt x="616" y="166"/>
                  </a:cubicBezTo>
                  <a:cubicBezTo>
                    <a:pt x="601" y="166"/>
                    <a:pt x="601" y="166"/>
                    <a:pt x="601" y="166"/>
                  </a:cubicBezTo>
                  <a:cubicBezTo>
                    <a:pt x="601" y="0"/>
                    <a:pt x="601" y="0"/>
                    <a:pt x="601" y="0"/>
                  </a:cubicBezTo>
                  <a:cubicBezTo>
                    <a:pt x="616" y="0"/>
                    <a:pt x="616" y="0"/>
                    <a:pt x="616" y="0"/>
                  </a:cubicBezTo>
                  <a:cubicBezTo>
                    <a:pt x="616" y="48"/>
                    <a:pt x="616" y="48"/>
                    <a:pt x="616" y="48"/>
                  </a:cubicBezTo>
                  <a:cubicBezTo>
                    <a:pt x="617" y="45"/>
                    <a:pt x="621" y="43"/>
                    <a:pt x="627" y="43"/>
                  </a:cubicBezTo>
                  <a:cubicBezTo>
                    <a:pt x="639" y="43"/>
                    <a:pt x="644" y="52"/>
                    <a:pt x="644" y="72"/>
                  </a:cubicBezTo>
                  <a:cubicBezTo>
                    <a:pt x="644" y="166"/>
                    <a:pt x="644" y="166"/>
                    <a:pt x="644" y="166"/>
                  </a:cubicBezTo>
                  <a:cubicBezTo>
                    <a:pt x="630" y="166"/>
                    <a:pt x="630" y="166"/>
                    <a:pt x="630" y="166"/>
                  </a:cubicBezTo>
                  <a:cubicBezTo>
                    <a:pt x="630" y="66"/>
                    <a:pt x="630" y="66"/>
                    <a:pt x="630" y="66"/>
                  </a:cubicBezTo>
                  <a:close/>
                  <a:moveTo>
                    <a:pt x="712" y="111"/>
                  </a:moveTo>
                  <a:cubicBezTo>
                    <a:pt x="710" y="112"/>
                    <a:pt x="708" y="113"/>
                    <a:pt x="707" y="114"/>
                  </a:cubicBezTo>
                  <a:cubicBezTo>
                    <a:pt x="705" y="115"/>
                    <a:pt x="704" y="116"/>
                    <a:pt x="702" y="118"/>
                  </a:cubicBezTo>
                  <a:cubicBezTo>
                    <a:pt x="699" y="120"/>
                    <a:pt x="698" y="124"/>
                    <a:pt x="698" y="129"/>
                  </a:cubicBezTo>
                  <a:cubicBezTo>
                    <a:pt x="698" y="143"/>
                    <a:pt x="698" y="143"/>
                    <a:pt x="698" y="143"/>
                  </a:cubicBezTo>
                  <a:cubicBezTo>
                    <a:pt x="698" y="149"/>
                    <a:pt x="700" y="152"/>
                    <a:pt x="704" y="152"/>
                  </a:cubicBezTo>
                  <a:cubicBezTo>
                    <a:pt x="710" y="152"/>
                    <a:pt x="712" y="149"/>
                    <a:pt x="712" y="143"/>
                  </a:cubicBezTo>
                  <a:cubicBezTo>
                    <a:pt x="712" y="111"/>
                    <a:pt x="712" y="111"/>
                    <a:pt x="712" y="111"/>
                  </a:cubicBezTo>
                  <a:close/>
                  <a:moveTo>
                    <a:pt x="684" y="128"/>
                  </a:moveTo>
                  <a:cubicBezTo>
                    <a:pt x="684" y="118"/>
                    <a:pt x="687" y="111"/>
                    <a:pt x="694" y="106"/>
                  </a:cubicBezTo>
                  <a:cubicBezTo>
                    <a:pt x="698" y="103"/>
                    <a:pt x="702" y="101"/>
                    <a:pt x="704" y="98"/>
                  </a:cubicBezTo>
                  <a:cubicBezTo>
                    <a:pt x="707" y="96"/>
                    <a:pt x="710" y="95"/>
                    <a:pt x="712" y="93"/>
                  </a:cubicBezTo>
                  <a:cubicBezTo>
                    <a:pt x="712" y="66"/>
                    <a:pt x="712" y="66"/>
                    <a:pt x="712" y="66"/>
                  </a:cubicBezTo>
                  <a:cubicBezTo>
                    <a:pt x="712" y="61"/>
                    <a:pt x="710" y="58"/>
                    <a:pt x="706" y="58"/>
                  </a:cubicBezTo>
                  <a:cubicBezTo>
                    <a:pt x="702" y="58"/>
                    <a:pt x="699" y="61"/>
                    <a:pt x="699" y="66"/>
                  </a:cubicBezTo>
                  <a:cubicBezTo>
                    <a:pt x="699" y="89"/>
                    <a:pt x="699" y="89"/>
                    <a:pt x="699" y="89"/>
                  </a:cubicBezTo>
                  <a:cubicBezTo>
                    <a:pt x="685" y="89"/>
                    <a:pt x="685" y="89"/>
                    <a:pt x="685" y="89"/>
                  </a:cubicBezTo>
                  <a:cubicBezTo>
                    <a:pt x="685" y="72"/>
                    <a:pt x="685" y="72"/>
                    <a:pt x="685" y="72"/>
                  </a:cubicBezTo>
                  <a:cubicBezTo>
                    <a:pt x="685" y="52"/>
                    <a:pt x="692" y="43"/>
                    <a:pt x="706" y="43"/>
                  </a:cubicBezTo>
                  <a:cubicBezTo>
                    <a:pt x="720" y="43"/>
                    <a:pt x="726" y="52"/>
                    <a:pt x="726" y="72"/>
                  </a:cubicBezTo>
                  <a:cubicBezTo>
                    <a:pt x="726" y="166"/>
                    <a:pt x="726" y="166"/>
                    <a:pt x="726" y="166"/>
                  </a:cubicBezTo>
                  <a:cubicBezTo>
                    <a:pt x="712" y="166"/>
                    <a:pt x="712" y="166"/>
                    <a:pt x="712" y="166"/>
                  </a:cubicBezTo>
                  <a:cubicBezTo>
                    <a:pt x="712" y="161"/>
                    <a:pt x="712" y="161"/>
                    <a:pt x="712" y="161"/>
                  </a:cubicBezTo>
                  <a:cubicBezTo>
                    <a:pt x="710" y="165"/>
                    <a:pt x="706" y="166"/>
                    <a:pt x="701" y="166"/>
                  </a:cubicBezTo>
                  <a:cubicBezTo>
                    <a:pt x="689" y="166"/>
                    <a:pt x="684" y="157"/>
                    <a:pt x="684" y="137"/>
                  </a:cubicBezTo>
                  <a:cubicBezTo>
                    <a:pt x="684" y="128"/>
                    <a:pt x="684" y="128"/>
                    <a:pt x="684" y="128"/>
                  </a:cubicBezTo>
                  <a:close/>
                  <a:moveTo>
                    <a:pt x="754" y="141"/>
                  </a:moveTo>
                  <a:cubicBezTo>
                    <a:pt x="754" y="146"/>
                    <a:pt x="757" y="149"/>
                    <a:pt x="762" y="149"/>
                  </a:cubicBezTo>
                  <a:cubicBezTo>
                    <a:pt x="766" y="149"/>
                    <a:pt x="769" y="146"/>
                    <a:pt x="769" y="142"/>
                  </a:cubicBezTo>
                  <a:cubicBezTo>
                    <a:pt x="769" y="66"/>
                    <a:pt x="769" y="66"/>
                    <a:pt x="769" y="66"/>
                  </a:cubicBezTo>
                  <a:cubicBezTo>
                    <a:pt x="769" y="61"/>
                    <a:pt x="766" y="57"/>
                    <a:pt x="762" y="57"/>
                  </a:cubicBezTo>
                  <a:cubicBezTo>
                    <a:pt x="757" y="57"/>
                    <a:pt x="754" y="60"/>
                    <a:pt x="754" y="66"/>
                  </a:cubicBezTo>
                  <a:lnTo>
                    <a:pt x="754" y="141"/>
                  </a:lnTo>
                  <a:close/>
                  <a:moveTo>
                    <a:pt x="761" y="181"/>
                  </a:moveTo>
                  <a:cubicBezTo>
                    <a:pt x="766" y="181"/>
                    <a:pt x="769" y="178"/>
                    <a:pt x="769" y="173"/>
                  </a:cubicBezTo>
                  <a:cubicBezTo>
                    <a:pt x="769" y="159"/>
                    <a:pt x="769" y="159"/>
                    <a:pt x="769" y="159"/>
                  </a:cubicBezTo>
                  <a:cubicBezTo>
                    <a:pt x="767" y="162"/>
                    <a:pt x="763" y="164"/>
                    <a:pt x="756" y="164"/>
                  </a:cubicBezTo>
                  <a:cubicBezTo>
                    <a:pt x="745" y="164"/>
                    <a:pt x="740" y="154"/>
                    <a:pt x="740" y="134"/>
                  </a:cubicBezTo>
                  <a:cubicBezTo>
                    <a:pt x="740" y="72"/>
                    <a:pt x="740" y="72"/>
                    <a:pt x="740" y="72"/>
                  </a:cubicBezTo>
                  <a:cubicBezTo>
                    <a:pt x="740" y="52"/>
                    <a:pt x="745" y="43"/>
                    <a:pt x="756" y="43"/>
                  </a:cubicBezTo>
                  <a:cubicBezTo>
                    <a:pt x="761" y="43"/>
                    <a:pt x="765" y="45"/>
                    <a:pt x="769" y="48"/>
                  </a:cubicBezTo>
                  <a:cubicBezTo>
                    <a:pt x="769" y="43"/>
                    <a:pt x="769" y="43"/>
                    <a:pt x="769" y="43"/>
                  </a:cubicBezTo>
                  <a:cubicBezTo>
                    <a:pt x="783" y="43"/>
                    <a:pt x="783" y="43"/>
                    <a:pt x="783" y="43"/>
                  </a:cubicBezTo>
                  <a:cubicBezTo>
                    <a:pt x="783" y="166"/>
                    <a:pt x="783" y="166"/>
                    <a:pt x="783" y="166"/>
                  </a:cubicBezTo>
                  <a:cubicBezTo>
                    <a:pt x="783" y="186"/>
                    <a:pt x="776" y="196"/>
                    <a:pt x="761" y="196"/>
                  </a:cubicBezTo>
                  <a:cubicBezTo>
                    <a:pt x="748" y="196"/>
                    <a:pt x="742" y="188"/>
                    <a:pt x="740" y="173"/>
                  </a:cubicBezTo>
                  <a:cubicBezTo>
                    <a:pt x="754" y="173"/>
                    <a:pt x="754" y="173"/>
                    <a:pt x="754" y="173"/>
                  </a:cubicBezTo>
                  <a:cubicBezTo>
                    <a:pt x="754" y="179"/>
                    <a:pt x="757" y="181"/>
                    <a:pt x="761" y="181"/>
                  </a:cubicBezTo>
                  <a:close/>
                  <a:moveTo>
                    <a:pt x="825" y="111"/>
                  </a:moveTo>
                  <a:cubicBezTo>
                    <a:pt x="824" y="112"/>
                    <a:pt x="822" y="113"/>
                    <a:pt x="820" y="114"/>
                  </a:cubicBezTo>
                  <a:cubicBezTo>
                    <a:pt x="819" y="115"/>
                    <a:pt x="817" y="116"/>
                    <a:pt x="815" y="118"/>
                  </a:cubicBezTo>
                  <a:cubicBezTo>
                    <a:pt x="812" y="120"/>
                    <a:pt x="811" y="124"/>
                    <a:pt x="811" y="129"/>
                  </a:cubicBezTo>
                  <a:cubicBezTo>
                    <a:pt x="811" y="143"/>
                    <a:pt x="811" y="143"/>
                    <a:pt x="811" y="143"/>
                  </a:cubicBezTo>
                  <a:cubicBezTo>
                    <a:pt x="811" y="149"/>
                    <a:pt x="813" y="152"/>
                    <a:pt x="818" y="152"/>
                  </a:cubicBezTo>
                  <a:cubicBezTo>
                    <a:pt x="823" y="152"/>
                    <a:pt x="825" y="149"/>
                    <a:pt x="825" y="143"/>
                  </a:cubicBezTo>
                  <a:cubicBezTo>
                    <a:pt x="825" y="111"/>
                    <a:pt x="825" y="111"/>
                    <a:pt x="825" y="111"/>
                  </a:cubicBezTo>
                  <a:close/>
                  <a:moveTo>
                    <a:pt x="797" y="128"/>
                  </a:moveTo>
                  <a:cubicBezTo>
                    <a:pt x="797" y="118"/>
                    <a:pt x="801" y="111"/>
                    <a:pt x="808" y="106"/>
                  </a:cubicBezTo>
                  <a:cubicBezTo>
                    <a:pt x="812" y="103"/>
                    <a:pt x="815" y="101"/>
                    <a:pt x="818" y="98"/>
                  </a:cubicBezTo>
                  <a:cubicBezTo>
                    <a:pt x="821" y="96"/>
                    <a:pt x="823" y="95"/>
                    <a:pt x="825" y="93"/>
                  </a:cubicBezTo>
                  <a:cubicBezTo>
                    <a:pt x="825" y="66"/>
                    <a:pt x="825" y="66"/>
                    <a:pt x="825" y="66"/>
                  </a:cubicBezTo>
                  <a:cubicBezTo>
                    <a:pt x="825" y="61"/>
                    <a:pt x="823" y="58"/>
                    <a:pt x="819" y="58"/>
                  </a:cubicBezTo>
                  <a:cubicBezTo>
                    <a:pt x="815" y="58"/>
                    <a:pt x="812" y="61"/>
                    <a:pt x="812" y="66"/>
                  </a:cubicBezTo>
                  <a:cubicBezTo>
                    <a:pt x="812" y="89"/>
                    <a:pt x="812" y="89"/>
                    <a:pt x="812" y="89"/>
                  </a:cubicBezTo>
                  <a:cubicBezTo>
                    <a:pt x="798" y="89"/>
                    <a:pt x="798" y="89"/>
                    <a:pt x="798" y="89"/>
                  </a:cubicBezTo>
                  <a:cubicBezTo>
                    <a:pt x="798" y="72"/>
                    <a:pt x="798" y="72"/>
                    <a:pt x="798" y="72"/>
                  </a:cubicBezTo>
                  <a:cubicBezTo>
                    <a:pt x="798" y="52"/>
                    <a:pt x="805" y="43"/>
                    <a:pt x="819" y="43"/>
                  </a:cubicBezTo>
                  <a:cubicBezTo>
                    <a:pt x="833" y="43"/>
                    <a:pt x="840" y="52"/>
                    <a:pt x="840" y="72"/>
                  </a:cubicBezTo>
                  <a:cubicBezTo>
                    <a:pt x="840" y="166"/>
                    <a:pt x="840" y="166"/>
                    <a:pt x="840" y="166"/>
                  </a:cubicBezTo>
                  <a:cubicBezTo>
                    <a:pt x="825" y="166"/>
                    <a:pt x="825" y="166"/>
                    <a:pt x="825" y="166"/>
                  </a:cubicBezTo>
                  <a:cubicBezTo>
                    <a:pt x="825" y="161"/>
                    <a:pt x="825" y="161"/>
                    <a:pt x="825" y="161"/>
                  </a:cubicBezTo>
                  <a:cubicBezTo>
                    <a:pt x="823" y="165"/>
                    <a:pt x="819" y="166"/>
                    <a:pt x="813" y="166"/>
                  </a:cubicBezTo>
                  <a:cubicBezTo>
                    <a:pt x="802" y="166"/>
                    <a:pt x="797" y="157"/>
                    <a:pt x="797" y="137"/>
                  </a:cubicBezTo>
                  <a:lnTo>
                    <a:pt x="797" y="128"/>
                  </a:lnTo>
                  <a:close/>
                  <a:moveTo>
                    <a:pt x="848" y="43"/>
                  </a:moveTo>
                  <a:cubicBezTo>
                    <a:pt x="853" y="43"/>
                    <a:pt x="853" y="43"/>
                    <a:pt x="853" y="43"/>
                  </a:cubicBezTo>
                  <a:cubicBezTo>
                    <a:pt x="853" y="0"/>
                    <a:pt x="853" y="0"/>
                    <a:pt x="853" y="0"/>
                  </a:cubicBezTo>
                  <a:cubicBezTo>
                    <a:pt x="868" y="0"/>
                    <a:pt x="868" y="0"/>
                    <a:pt x="868" y="0"/>
                  </a:cubicBezTo>
                  <a:cubicBezTo>
                    <a:pt x="868" y="43"/>
                    <a:pt x="868" y="43"/>
                    <a:pt x="868" y="43"/>
                  </a:cubicBezTo>
                  <a:cubicBezTo>
                    <a:pt x="874" y="43"/>
                    <a:pt x="874" y="43"/>
                    <a:pt x="874" y="43"/>
                  </a:cubicBezTo>
                  <a:cubicBezTo>
                    <a:pt x="874" y="58"/>
                    <a:pt x="874" y="58"/>
                    <a:pt x="874" y="58"/>
                  </a:cubicBezTo>
                  <a:cubicBezTo>
                    <a:pt x="868" y="58"/>
                    <a:pt x="868" y="58"/>
                    <a:pt x="868" y="58"/>
                  </a:cubicBezTo>
                  <a:cubicBezTo>
                    <a:pt x="868" y="143"/>
                    <a:pt x="868" y="143"/>
                    <a:pt x="868" y="143"/>
                  </a:cubicBezTo>
                  <a:cubicBezTo>
                    <a:pt x="868" y="149"/>
                    <a:pt x="870" y="152"/>
                    <a:pt x="875" y="152"/>
                  </a:cubicBezTo>
                  <a:cubicBezTo>
                    <a:pt x="875" y="166"/>
                    <a:pt x="875" y="166"/>
                    <a:pt x="875" y="166"/>
                  </a:cubicBezTo>
                  <a:cubicBezTo>
                    <a:pt x="861" y="166"/>
                    <a:pt x="853" y="157"/>
                    <a:pt x="853" y="137"/>
                  </a:cubicBezTo>
                  <a:cubicBezTo>
                    <a:pt x="853" y="58"/>
                    <a:pt x="853" y="58"/>
                    <a:pt x="853" y="58"/>
                  </a:cubicBezTo>
                  <a:cubicBezTo>
                    <a:pt x="848" y="58"/>
                    <a:pt x="848" y="58"/>
                    <a:pt x="848" y="58"/>
                  </a:cubicBezTo>
                  <a:cubicBezTo>
                    <a:pt x="848" y="43"/>
                    <a:pt x="848" y="43"/>
                    <a:pt x="848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5508626" y="3808028"/>
              <a:ext cx="1143000" cy="573881"/>
            </a:xfrm>
            <a:custGeom>
              <a:avLst/>
              <a:gdLst/>
              <a:ahLst/>
              <a:cxnLst>
                <a:cxn ang="0">
                  <a:pos x="82" y="94"/>
                </a:cxn>
                <a:cxn ang="0">
                  <a:pos x="71" y="270"/>
                </a:cxn>
                <a:cxn ang="0">
                  <a:pos x="47" y="107"/>
                </a:cxn>
                <a:cxn ang="0">
                  <a:pos x="24" y="107"/>
                </a:cxn>
                <a:cxn ang="0">
                  <a:pos x="0" y="270"/>
                </a:cxn>
                <a:cxn ang="0">
                  <a:pos x="24" y="69"/>
                </a:cxn>
                <a:cxn ang="0">
                  <a:pos x="43" y="69"/>
                </a:cxn>
                <a:cxn ang="0">
                  <a:pos x="89" y="69"/>
                </a:cxn>
                <a:cxn ang="0">
                  <a:pos x="117" y="270"/>
                </a:cxn>
                <a:cxn ang="0">
                  <a:pos x="94" y="107"/>
                </a:cxn>
                <a:cxn ang="0">
                  <a:pos x="186" y="150"/>
                </a:cxn>
                <a:cxn ang="0">
                  <a:pos x="174" y="94"/>
                </a:cxn>
                <a:cxn ang="0">
                  <a:pos x="162" y="150"/>
                </a:cxn>
                <a:cxn ang="0">
                  <a:pos x="174" y="246"/>
                </a:cxn>
                <a:cxn ang="0">
                  <a:pos x="186" y="193"/>
                </a:cxn>
                <a:cxn ang="0">
                  <a:pos x="209" y="222"/>
                </a:cxn>
                <a:cxn ang="0">
                  <a:pos x="139" y="222"/>
                </a:cxn>
                <a:cxn ang="0">
                  <a:pos x="174" y="69"/>
                </a:cxn>
                <a:cxn ang="0">
                  <a:pos x="209" y="174"/>
                </a:cxn>
                <a:cxn ang="0">
                  <a:pos x="162" y="232"/>
                </a:cxn>
                <a:cxn ang="0">
                  <a:pos x="274" y="69"/>
                </a:cxn>
                <a:cxn ang="0">
                  <a:pos x="266" y="94"/>
                </a:cxn>
                <a:cxn ang="0">
                  <a:pos x="254" y="270"/>
                </a:cxn>
                <a:cxn ang="0">
                  <a:pos x="230" y="69"/>
                </a:cxn>
                <a:cxn ang="0">
                  <a:pos x="254" y="77"/>
                </a:cxn>
                <a:cxn ang="0">
                  <a:pos x="324" y="94"/>
                </a:cxn>
                <a:cxn ang="0">
                  <a:pos x="313" y="232"/>
                </a:cxn>
                <a:cxn ang="0">
                  <a:pos x="336" y="232"/>
                </a:cxn>
                <a:cxn ang="0">
                  <a:pos x="360" y="193"/>
                </a:cxn>
                <a:cxn ang="0">
                  <a:pos x="324" y="270"/>
                </a:cxn>
                <a:cxn ang="0">
                  <a:pos x="290" y="117"/>
                </a:cxn>
                <a:cxn ang="0">
                  <a:pos x="360" y="117"/>
                </a:cxn>
                <a:cxn ang="0">
                  <a:pos x="336" y="145"/>
                </a:cxn>
                <a:cxn ang="0">
                  <a:pos x="403" y="36"/>
                </a:cxn>
                <a:cxn ang="0">
                  <a:pos x="380" y="0"/>
                </a:cxn>
                <a:cxn ang="0">
                  <a:pos x="403" y="36"/>
                </a:cxn>
                <a:cxn ang="0">
                  <a:pos x="380" y="270"/>
                </a:cxn>
                <a:cxn ang="0">
                  <a:pos x="403" y="69"/>
                </a:cxn>
              </a:cxnLst>
              <a:rect l="0" t="0" r="r" b="b"/>
              <a:pathLst>
                <a:path w="403" h="270">
                  <a:moveTo>
                    <a:pt x="94" y="107"/>
                  </a:moveTo>
                  <a:cubicBezTo>
                    <a:pt x="94" y="98"/>
                    <a:pt x="90" y="94"/>
                    <a:pt x="82" y="94"/>
                  </a:cubicBezTo>
                  <a:cubicBezTo>
                    <a:pt x="74" y="94"/>
                    <a:pt x="71" y="98"/>
                    <a:pt x="71" y="107"/>
                  </a:cubicBezTo>
                  <a:cubicBezTo>
                    <a:pt x="71" y="270"/>
                    <a:pt x="71" y="270"/>
                    <a:pt x="71" y="270"/>
                  </a:cubicBezTo>
                  <a:cubicBezTo>
                    <a:pt x="47" y="270"/>
                    <a:pt x="47" y="270"/>
                    <a:pt x="47" y="270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7" y="98"/>
                    <a:pt x="44" y="94"/>
                    <a:pt x="35" y="94"/>
                  </a:cubicBezTo>
                  <a:cubicBezTo>
                    <a:pt x="28" y="94"/>
                    <a:pt x="24" y="98"/>
                    <a:pt x="24" y="107"/>
                  </a:cubicBezTo>
                  <a:cubicBezTo>
                    <a:pt x="24" y="270"/>
                    <a:pt x="24" y="270"/>
                    <a:pt x="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7" y="72"/>
                    <a:pt x="33" y="69"/>
                    <a:pt x="43" y="69"/>
                  </a:cubicBezTo>
                  <a:cubicBezTo>
                    <a:pt x="53" y="69"/>
                    <a:pt x="60" y="74"/>
                    <a:pt x="65" y="82"/>
                  </a:cubicBezTo>
                  <a:cubicBezTo>
                    <a:pt x="70" y="73"/>
                    <a:pt x="78" y="69"/>
                    <a:pt x="89" y="69"/>
                  </a:cubicBezTo>
                  <a:cubicBezTo>
                    <a:pt x="108" y="69"/>
                    <a:pt x="117" y="85"/>
                    <a:pt x="117" y="117"/>
                  </a:cubicBezTo>
                  <a:cubicBezTo>
                    <a:pt x="117" y="270"/>
                    <a:pt x="117" y="270"/>
                    <a:pt x="117" y="270"/>
                  </a:cubicBezTo>
                  <a:cubicBezTo>
                    <a:pt x="94" y="270"/>
                    <a:pt x="94" y="270"/>
                    <a:pt x="94" y="270"/>
                  </a:cubicBezTo>
                  <a:cubicBezTo>
                    <a:pt x="94" y="107"/>
                    <a:pt x="94" y="107"/>
                    <a:pt x="94" y="107"/>
                  </a:cubicBezTo>
                  <a:close/>
                  <a:moveTo>
                    <a:pt x="162" y="150"/>
                  </a:moveTo>
                  <a:cubicBezTo>
                    <a:pt x="186" y="150"/>
                    <a:pt x="186" y="150"/>
                    <a:pt x="186" y="150"/>
                  </a:cubicBezTo>
                  <a:cubicBezTo>
                    <a:pt x="186" y="107"/>
                    <a:pt x="186" y="107"/>
                    <a:pt x="186" y="107"/>
                  </a:cubicBezTo>
                  <a:cubicBezTo>
                    <a:pt x="186" y="98"/>
                    <a:pt x="182" y="94"/>
                    <a:pt x="174" y="94"/>
                  </a:cubicBezTo>
                  <a:cubicBezTo>
                    <a:pt x="166" y="94"/>
                    <a:pt x="162" y="98"/>
                    <a:pt x="162" y="107"/>
                  </a:cubicBezTo>
                  <a:lnTo>
                    <a:pt x="162" y="150"/>
                  </a:lnTo>
                  <a:close/>
                  <a:moveTo>
                    <a:pt x="162" y="232"/>
                  </a:moveTo>
                  <a:cubicBezTo>
                    <a:pt x="162" y="241"/>
                    <a:pt x="166" y="246"/>
                    <a:pt x="174" y="246"/>
                  </a:cubicBezTo>
                  <a:cubicBezTo>
                    <a:pt x="182" y="246"/>
                    <a:pt x="186" y="241"/>
                    <a:pt x="186" y="232"/>
                  </a:cubicBezTo>
                  <a:cubicBezTo>
                    <a:pt x="186" y="193"/>
                    <a:pt x="186" y="193"/>
                    <a:pt x="186" y="193"/>
                  </a:cubicBezTo>
                  <a:cubicBezTo>
                    <a:pt x="209" y="193"/>
                    <a:pt x="209" y="193"/>
                    <a:pt x="209" y="193"/>
                  </a:cubicBezTo>
                  <a:cubicBezTo>
                    <a:pt x="209" y="222"/>
                    <a:pt x="209" y="222"/>
                    <a:pt x="209" y="222"/>
                  </a:cubicBezTo>
                  <a:cubicBezTo>
                    <a:pt x="209" y="254"/>
                    <a:pt x="197" y="270"/>
                    <a:pt x="174" y="270"/>
                  </a:cubicBezTo>
                  <a:cubicBezTo>
                    <a:pt x="150" y="270"/>
                    <a:pt x="139" y="254"/>
                    <a:pt x="139" y="222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85"/>
                    <a:pt x="150" y="69"/>
                    <a:pt x="174" y="69"/>
                  </a:cubicBezTo>
                  <a:cubicBezTo>
                    <a:pt x="197" y="69"/>
                    <a:pt x="209" y="85"/>
                    <a:pt x="209" y="117"/>
                  </a:cubicBezTo>
                  <a:cubicBezTo>
                    <a:pt x="209" y="174"/>
                    <a:pt x="209" y="174"/>
                    <a:pt x="209" y="174"/>
                  </a:cubicBezTo>
                  <a:cubicBezTo>
                    <a:pt x="162" y="174"/>
                    <a:pt x="162" y="174"/>
                    <a:pt x="162" y="174"/>
                  </a:cubicBezTo>
                  <a:cubicBezTo>
                    <a:pt x="162" y="232"/>
                    <a:pt x="162" y="232"/>
                    <a:pt x="162" y="232"/>
                  </a:cubicBezTo>
                  <a:close/>
                  <a:moveTo>
                    <a:pt x="254" y="77"/>
                  </a:moveTo>
                  <a:cubicBezTo>
                    <a:pt x="257" y="72"/>
                    <a:pt x="263" y="69"/>
                    <a:pt x="274" y="69"/>
                  </a:cubicBezTo>
                  <a:cubicBezTo>
                    <a:pt x="274" y="99"/>
                    <a:pt x="274" y="99"/>
                    <a:pt x="274" y="99"/>
                  </a:cubicBezTo>
                  <a:cubicBezTo>
                    <a:pt x="272" y="95"/>
                    <a:pt x="270" y="94"/>
                    <a:pt x="266" y="94"/>
                  </a:cubicBezTo>
                  <a:cubicBezTo>
                    <a:pt x="258" y="94"/>
                    <a:pt x="254" y="98"/>
                    <a:pt x="254" y="107"/>
                  </a:cubicBezTo>
                  <a:cubicBezTo>
                    <a:pt x="254" y="270"/>
                    <a:pt x="254" y="270"/>
                    <a:pt x="254" y="270"/>
                  </a:cubicBezTo>
                  <a:cubicBezTo>
                    <a:pt x="230" y="270"/>
                    <a:pt x="230" y="270"/>
                    <a:pt x="230" y="270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54" y="69"/>
                    <a:pt x="254" y="69"/>
                    <a:pt x="254" y="69"/>
                  </a:cubicBezTo>
                  <a:cubicBezTo>
                    <a:pt x="254" y="77"/>
                    <a:pt x="254" y="77"/>
                    <a:pt x="254" y="77"/>
                  </a:cubicBezTo>
                  <a:close/>
                  <a:moveTo>
                    <a:pt x="336" y="107"/>
                  </a:moveTo>
                  <a:cubicBezTo>
                    <a:pt x="336" y="98"/>
                    <a:pt x="332" y="94"/>
                    <a:pt x="324" y="94"/>
                  </a:cubicBezTo>
                  <a:cubicBezTo>
                    <a:pt x="316" y="94"/>
                    <a:pt x="313" y="98"/>
                    <a:pt x="313" y="107"/>
                  </a:cubicBezTo>
                  <a:cubicBezTo>
                    <a:pt x="313" y="232"/>
                    <a:pt x="313" y="232"/>
                    <a:pt x="313" y="232"/>
                  </a:cubicBezTo>
                  <a:cubicBezTo>
                    <a:pt x="313" y="241"/>
                    <a:pt x="316" y="246"/>
                    <a:pt x="324" y="246"/>
                  </a:cubicBezTo>
                  <a:cubicBezTo>
                    <a:pt x="332" y="246"/>
                    <a:pt x="336" y="241"/>
                    <a:pt x="336" y="232"/>
                  </a:cubicBezTo>
                  <a:cubicBezTo>
                    <a:pt x="336" y="193"/>
                    <a:pt x="336" y="193"/>
                    <a:pt x="336" y="193"/>
                  </a:cubicBezTo>
                  <a:cubicBezTo>
                    <a:pt x="360" y="193"/>
                    <a:pt x="360" y="193"/>
                    <a:pt x="360" y="193"/>
                  </a:cubicBezTo>
                  <a:cubicBezTo>
                    <a:pt x="360" y="222"/>
                    <a:pt x="360" y="222"/>
                    <a:pt x="360" y="222"/>
                  </a:cubicBezTo>
                  <a:cubicBezTo>
                    <a:pt x="360" y="254"/>
                    <a:pt x="348" y="270"/>
                    <a:pt x="324" y="270"/>
                  </a:cubicBezTo>
                  <a:cubicBezTo>
                    <a:pt x="301" y="270"/>
                    <a:pt x="290" y="254"/>
                    <a:pt x="290" y="222"/>
                  </a:cubicBezTo>
                  <a:cubicBezTo>
                    <a:pt x="290" y="117"/>
                    <a:pt x="290" y="117"/>
                    <a:pt x="290" y="117"/>
                  </a:cubicBezTo>
                  <a:cubicBezTo>
                    <a:pt x="290" y="85"/>
                    <a:pt x="301" y="69"/>
                    <a:pt x="324" y="69"/>
                  </a:cubicBezTo>
                  <a:cubicBezTo>
                    <a:pt x="348" y="69"/>
                    <a:pt x="360" y="85"/>
                    <a:pt x="360" y="117"/>
                  </a:cubicBezTo>
                  <a:cubicBezTo>
                    <a:pt x="360" y="145"/>
                    <a:pt x="360" y="145"/>
                    <a:pt x="360" y="145"/>
                  </a:cubicBezTo>
                  <a:cubicBezTo>
                    <a:pt x="336" y="145"/>
                    <a:pt x="336" y="145"/>
                    <a:pt x="336" y="145"/>
                  </a:cubicBezTo>
                  <a:lnTo>
                    <a:pt x="336" y="107"/>
                  </a:lnTo>
                  <a:close/>
                  <a:moveTo>
                    <a:pt x="403" y="36"/>
                  </a:moveTo>
                  <a:cubicBezTo>
                    <a:pt x="380" y="36"/>
                    <a:pt x="380" y="36"/>
                    <a:pt x="380" y="36"/>
                  </a:cubicBezTo>
                  <a:cubicBezTo>
                    <a:pt x="380" y="0"/>
                    <a:pt x="380" y="0"/>
                    <a:pt x="380" y="0"/>
                  </a:cubicBezTo>
                  <a:cubicBezTo>
                    <a:pt x="403" y="0"/>
                    <a:pt x="403" y="0"/>
                    <a:pt x="403" y="0"/>
                  </a:cubicBezTo>
                  <a:lnTo>
                    <a:pt x="403" y="36"/>
                  </a:lnTo>
                  <a:close/>
                  <a:moveTo>
                    <a:pt x="403" y="270"/>
                  </a:moveTo>
                  <a:cubicBezTo>
                    <a:pt x="380" y="270"/>
                    <a:pt x="380" y="270"/>
                    <a:pt x="380" y="270"/>
                  </a:cubicBezTo>
                  <a:cubicBezTo>
                    <a:pt x="380" y="69"/>
                    <a:pt x="380" y="69"/>
                    <a:pt x="380" y="69"/>
                  </a:cubicBezTo>
                  <a:cubicBezTo>
                    <a:pt x="403" y="69"/>
                    <a:pt x="403" y="69"/>
                    <a:pt x="403" y="69"/>
                  </a:cubicBezTo>
                  <a:cubicBezTo>
                    <a:pt x="403" y="270"/>
                    <a:pt x="403" y="270"/>
                    <a:pt x="403" y="27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5068888" y="1738721"/>
              <a:ext cx="2098675" cy="416719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58"/>
                </a:cxn>
                <a:cxn ang="0">
                  <a:pos x="6" y="137"/>
                </a:cxn>
                <a:cxn ang="0">
                  <a:pos x="53" y="93"/>
                </a:cxn>
                <a:cxn ang="0">
                  <a:pos x="53" y="66"/>
                </a:cxn>
                <a:cxn ang="0">
                  <a:pos x="68" y="143"/>
                </a:cxn>
                <a:cxn ang="0">
                  <a:pos x="60" y="166"/>
                </a:cxn>
                <a:cxn ang="0">
                  <a:pos x="82" y="72"/>
                </a:cxn>
                <a:cxn ang="0">
                  <a:pos x="119" y="65"/>
                </a:cxn>
                <a:cxn ang="0">
                  <a:pos x="121" y="103"/>
                </a:cxn>
                <a:cxn ang="0">
                  <a:pos x="94" y="129"/>
                </a:cxn>
                <a:cxn ang="0">
                  <a:pos x="120" y="144"/>
                </a:cxn>
                <a:cxn ang="0">
                  <a:pos x="114" y="43"/>
                </a:cxn>
                <a:cxn ang="0">
                  <a:pos x="119" y="65"/>
                </a:cxn>
                <a:cxn ang="0">
                  <a:pos x="115" y="196"/>
                </a:cxn>
                <a:cxn ang="0">
                  <a:pos x="119" y="187"/>
                </a:cxn>
                <a:cxn ang="0">
                  <a:pos x="117" y="165"/>
                </a:cxn>
                <a:cxn ang="0">
                  <a:pos x="175" y="66"/>
                </a:cxn>
                <a:cxn ang="0">
                  <a:pos x="160" y="143"/>
                </a:cxn>
                <a:cxn ang="0">
                  <a:pos x="190" y="119"/>
                </a:cxn>
                <a:cxn ang="0">
                  <a:pos x="146" y="72"/>
                </a:cxn>
                <a:cxn ang="0">
                  <a:pos x="160" y="107"/>
                </a:cxn>
                <a:cxn ang="0">
                  <a:pos x="217" y="100"/>
                </a:cxn>
                <a:cxn ang="0">
                  <a:pos x="229" y="105"/>
                </a:cxn>
                <a:cxn ang="0">
                  <a:pos x="217" y="110"/>
                </a:cxn>
                <a:cxn ang="0">
                  <a:pos x="259" y="0"/>
                </a:cxn>
                <a:cxn ang="0">
                  <a:pos x="292" y="43"/>
                </a:cxn>
                <a:cxn ang="0">
                  <a:pos x="291" y="166"/>
                </a:cxn>
                <a:cxn ang="0">
                  <a:pos x="259" y="166"/>
                </a:cxn>
                <a:cxn ang="0">
                  <a:pos x="344" y="143"/>
                </a:cxn>
                <a:cxn ang="0">
                  <a:pos x="344" y="166"/>
                </a:cxn>
                <a:cxn ang="0">
                  <a:pos x="315" y="43"/>
                </a:cxn>
                <a:cxn ang="0">
                  <a:pos x="327" y="25"/>
                </a:cxn>
                <a:cxn ang="0">
                  <a:pos x="345" y="36"/>
                </a:cxn>
                <a:cxn ang="0">
                  <a:pos x="345" y="36"/>
                </a:cxn>
                <a:cxn ang="0">
                  <a:pos x="393" y="58"/>
                </a:cxn>
                <a:cxn ang="0">
                  <a:pos x="372" y="43"/>
                </a:cxn>
                <a:cxn ang="0">
                  <a:pos x="462" y="93"/>
                </a:cxn>
                <a:cxn ang="0">
                  <a:pos x="448" y="93"/>
                </a:cxn>
                <a:cxn ang="0">
                  <a:pos x="462" y="119"/>
                </a:cxn>
                <a:cxn ang="0">
                  <a:pos x="433" y="137"/>
                </a:cxn>
                <a:cxn ang="0">
                  <a:pos x="477" y="107"/>
                </a:cxn>
                <a:cxn ang="0">
                  <a:pos x="512" y="152"/>
                </a:cxn>
                <a:cxn ang="0">
                  <a:pos x="504" y="66"/>
                </a:cxn>
                <a:cxn ang="0">
                  <a:pos x="519" y="161"/>
                </a:cxn>
                <a:cxn ang="0">
                  <a:pos x="507" y="43"/>
                </a:cxn>
                <a:cxn ang="0">
                  <a:pos x="533" y="166"/>
                </a:cxn>
                <a:cxn ang="0">
                  <a:pos x="568" y="58"/>
                </a:cxn>
                <a:cxn ang="0">
                  <a:pos x="568" y="152"/>
                </a:cxn>
                <a:cxn ang="0">
                  <a:pos x="590" y="137"/>
                </a:cxn>
                <a:cxn ang="0">
                  <a:pos x="568" y="43"/>
                </a:cxn>
                <a:cxn ang="0">
                  <a:pos x="561" y="143"/>
                </a:cxn>
                <a:cxn ang="0">
                  <a:pos x="625" y="58"/>
                </a:cxn>
                <a:cxn ang="0">
                  <a:pos x="604" y="43"/>
                </a:cxn>
                <a:cxn ang="0">
                  <a:pos x="640" y="23"/>
                </a:cxn>
                <a:cxn ang="0">
                  <a:pos x="654" y="166"/>
                </a:cxn>
                <a:cxn ang="0">
                  <a:pos x="654" y="166"/>
                </a:cxn>
                <a:cxn ang="0">
                  <a:pos x="711" y="166"/>
                </a:cxn>
                <a:cxn ang="0">
                  <a:pos x="682" y="66"/>
                </a:cxn>
                <a:cxn ang="0">
                  <a:pos x="682" y="43"/>
                </a:cxn>
                <a:cxn ang="0">
                  <a:pos x="723" y="43"/>
                </a:cxn>
                <a:cxn ang="0">
                  <a:pos x="725" y="66"/>
                </a:cxn>
              </a:cxnLst>
              <a:rect l="0" t="0" r="r" b="b"/>
              <a:pathLst>
                <a:path w="740" h="196">
                  <a:moveTo>
                    <a:pt x="0" y="43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143"/>
                    <a:pt x="20" y="143"/>
                    <a:pt x="20" y="143"/>
                  </a:cubicBezTo>
                  <a:cubicBezTo>
                    <a:pt x="20" y="149"/>
                    <a:pt x="23" y="152"/>
                    <a:pt x="28" y="152"/>
                  </a:cubicBezTo>
                  <a:cubicBezTo>
                    <a:pt x="28" y="166"/>
                    <a:pt x="28" y="166"/>
                    <a:pt x="28" y="166"/>
                  </a:cubicBezTo>
                  <a:cubicBezTo>
                    <a:pt x="13" y="166"/>
                    <a:pt x="6" y="157"/>
                    <a:pt x="6" y="13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43"/>
                    <a:pt x="0" y="43"/>
                    <a:pt x="0" y="43"/>
                  </a:cubicBezTo>
                  <a:close/>
                  <a:moveTo>
                    <a:pt x="53" y="93"/>
                  </a:moveTo>
                  <a:cubicBezTo>
                    <a:pt x="68" y="93"/>
                    <a:pt x="68" y="93"/>
                    <a:pt x="68" y="93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0"/>
                    <a:pt x="65" y="58"/>
                    <a:pt x="60" y="58"/>
                  </a:cubicBezTo>
                  <a:cubicBezTo>
                    <a:pt x="55" y="58"/>
                    <a:pt x="53" y="61"/>
                    <a:pt x="53" y="66"/>
                  </a:cubicBezTo>
                  <a:cubicBezTo>
                    <a:pt x="53" y="93"/>
                    <a:pt x="53" y="93"/>
                    <a:pt x="53" y="93"/>
                  </a:cubicBezTo>
                  <a:close/>
                  <a:moveTo>
                    <a:pt x="53" y="143"/>
                  </a:moveTo>
                  <a:cubicBezTo>
                    <a:pt x="53" y="149"/>
                    <a:pt x="55" y="152"/>
                    <a:pt x="60" y="152"/>
                  </a:cubicBezTo>
                  <a:cubicBezTo>
                    <a:pt x="65" y="152"/>
                    <a:pt x="68" y="149"/>
                    <a:pt x="68" y="143"/>
                  </a:cubicBezTo>
                  <a:cubicBezTo>
                    <a:pt x="68" y="119"/>
                    <a:pt x="68" y="119"/>
                    <a:pt x="68" y="119"/>
                  </a:cubicBezTo>
                  <a:cubicBezTo>
                    <a:pt x="82" y="119"/>
                    <a:pt x="82" y="119"/>
                    <a:pt x="82" y="119"/>
                  </a:cubicBezTo>
                  <a:cubicBezTo>
                    <a:pt x="82" y="137"/>
                    <a:pt x="82" y="137"/>
                    <a:pt x="82" y="137"/>
                  </a:cubicBezTo>
                  <a:cubicBezTo>
                    <a:pt x="82" y="157"/>
                    <a:pt x="74" y="166"/>
                    <a:pt x="60" y="166"/>
                  </a:cubicBezTo>
                  <a:cubicBezTo>
                    <a:pt x="46" y="166"/>
                    <a:pt x="38" y="157"/>
                    <a:pt x="38" y="137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52"/>
                    <a:pt x="46" y="43"/>
                    <a:pt x="60" y="43"/>
                  </a:cubicBezTo>
                  <a:cubicBezTo>
                    <a:pt x="74" y="43"/>
                    <a:pt x="82" y="52"/>
                    <a:pt x="82" y="72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43"/>
                    <a:pt x="53" y="143"/>
                    <a:pt x="53" y="143"/>
                  </a:cubicBezTo>
                  <a:close/>
                  <a:moveTo>
                    <a:pt x="119" y="65"/>
                  </a:moveTo>
                  <a:cubicBezTo>
                    <a:pt x="119" y="60"/>
                    <a:pt x="118" y="57"/>
                    <a:pt x="114" y="57"/>
                  </a:cubicBezTo>
                  <a:cubicBezTo>
                    <a:pt x="110" y="57"/>
                    <a:pt x="108" y="60"/>
                    <a:pt x="108" y="65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08" y="83"/>
                    <a:pt x="112" y="92"/>
                    <a:pt x="121" y="103"/>
                  </a:cubicBezTo>
                  <a:cubicBezTo>
                    <a:pt x="130" y="114"/>
                    <a:pt x="135" y="125"/>
                    <a:pt x="135" y="136"/>
                  </a:cubicBezTo>
                  <a:cubicBezTo>
                    <a:pt x="135" y="156"/>
                    <a:pt x="128" y="166"/>
                    <a:pt x="114" y="166"/>
                  </a:cubicBezTo>
                  <a:cubicBezTo>
                    <a:pt x="101" y="166"/>
                    <a:pt x="94" y="156"/>
                    <a:pt x="94" y="135"/>
                  </a:cubicBezTo>
                  <a:cubicBezTo>
                    <a:pt x="94" y="129"/>
                    <a:pt x="94" y="129"/>
                    <a:pt x="94" y="129"/>
                  </a:cubicBezTo>
                  <a:cubicBezTo>
                    <a:pt x="108" y="129"/>
                    <a:pt x="108" y="129"/>
                    <a:pt x="108" y="129"/>
                  </a:cubicBezTo>
                  <a:cubicBezTo>
                    <a:pt x="108" y="144"/>
                    <a:pt x="108" y="144"/>
                    <a:pt x="108" y="144"/>
                  </a:cubicBezTo>
                  <a:cubicBezTo>
                    <a:pt x="108" y="150"/>
                    <a:pt x="110" y="152"/>
                    <a:pt x="114" y="152"/>
                  </a:cubicBezTo>
                  <a:cubicBezTo>
                    <a:pt x="118" y="152"/>
                    <a:pt x="120" y="150"/>
                    <a:pt x="120" y="144"/>
                  </a:cubicBezTo>
                  <a:cubicBezTo>
                    <a:pt x="120" y="133"/>
                    <a:pt x="120" y="133"/>
                    <a:pt x="120" y="133"/>
                  </a:cubicBezTo>
                  <a:cubicBezTo>
                    <a:pt x="120" y="125"/>
                    <a:pt x="116" y="117"/>
                    <a:pt x="107" y="108"/>
                  </a:cubicBezTo>
                  <a:cubicBezTo>
                    <a:pt x="98" y="98"/>
                    <a:pt x="94" y="87"/>
                    <a:pt x="94" y="74"/>
                  </a:cubicBezTo>
                  <a:cubicBezTo>
                    <a:pt x="94" y="53"/>
                    <a:pt x="100" y="43"/>
                    <a:pt x="114" y="43"/>
                  </a:cubicBezTo>
                  <a:cubicBezTo>
                    <a:pt x="127" y="43"/>
                    <a:pt x="134" y="53"/>
                    <a:pt x="134" y="74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9" y="65"/>
                    <a:pt x="119" y="65"/>
                    <a:pt x="119" y="65"/>
                  </a:cubicBezTo>
                  <a:close/>
                  <a:moveTo>
                    <a:pt x="117" y="167"/>
                  </a:moveTo>
                  <a:cubicBezTo>
                    <a:pt x="117" y="171"/>
                    <a:pt x="118" y="174"/>
                    <a:pt x="122" y="176"/>
                  </a:cubicBezTo>
                  <a:cubicBezTo>
                    <a:pt x="124" y="178"/>
                    <a:pt x="126" y="182"/>
                    <a:pt x="126" y="186"/>
                  </a:cubicBezTo>
                  <a:cubicBezTo>
                    <a:pt x="126" y="193"/>
                    <a:pt x="122" y="196"/>
                    <a:pt x="115" y="196"/>
                  </a:cubicBezTo>
                  <a:cubicBezTo>
                    <a:pt x="108" y="196"/>
                    <a:pt x="104" y="193"/>
                    <a:pt x="105" y="186"/>
                  </a:cubicBezTo>
                  <a:cubicBezTo>
                    <a:pt x="112" y="186"/>
                    <a:pt x="112" y="186"/>
                    <a:pt x="112" y="186"/>
                  </a:cubicBezTo>
                  <a:cubicBezTo>
                    <a:pt x="111" y="189"/>
                    <a:pt x="113" y="191"/>
                    <a:pt x="115" y="191"/>
                  </a:cubicBezTo>
                  <a:cubicBezTo>
                    <a:pt x="117" y="191"/>
                    <a:pt x="119" y="190"/>
                    <a:pt x="119" y="187"/>
                  </a:cubicBezTo>
                  <a:cubicBezTo>
                    <a:pt x="119" y="183"/>
                    <a:pt x="117" y="179"/>
                    <a:pt x="114" y="177"/>
                  </a:cubicBezTo>
                  <a:cubicBezTo>
                    <a:pt x="111" y="175"/>
                    <a:pt x="110" y="171"/>
                    <a:pt x="110" y="168"/>
                  </a:cubicBezTo>
                  <a:cubicBezTo>
                    <a:pt x="110" y="165"/>
                    <a:pt x="110" y="165"/>
                    <a:pt x="110" y="165"/>
                  </a:cubicBezTo>
                  <a:cubicBezTo>
                    <a:pt x="117" y="165"/>
                    <a:pt x="117" y="165"/>
                    <a:pt x="117" y="165"/>
                  </a:cubicBezTo>
                  <a:cubicBezTo>
                    <a:pt x="117" y="167"/>
                    <a:pt x="117" y="167"/>
                    <a:pt x="117" y="167"/>
                  </a:cubicBezTo>
                  <a:close/>
                  <a:moveTo>
                    <a:pt x="160" y="93"/>
                  </a:moveTo>
                  <a:cubicBezTo>
                    <a:pt x="175" y="93"/>
                    <a:pt x="175" y="93"/>
                    <a:pt x="175" y="93"/>
                  </a:cubicBezTo>
                  <a:cubicBezTo>
                    <a:pt x="175" y="66"/>
                    <a:pt x="175" y="66"/>
                    <a:pt x="175" y="66"/>
                  </a:cubicBezTo>
                  <a:cubicBezTo>
                    <a:pt x="175" y="60"/>
                    <a:pt x="173" y="58"/>
                    <a:pt x="168" y="58"/>
                  </a:cubicBezTo>
                  <a:cubicBezTo>
                    <a:pt x="163" y="58"/>
                    <a:pt x="160" y="61"/>
                    <a:pt x="160" y="66"/>
                  </a:cubicBezTo>
                  <a:cubicBezTo>
                    <a:pt x="160" y="93"/>
                    <a:pt x="160" y="93"/>
                    <a:pt x="160" y="93"/>
                  </a:cubicBezTo>
                  <a:close/>
                  <a:moveTo>
                    <a:pt x="160" y="143"/>
                  </a:moveTo>
                  <a:cubicBezTo>
                    <a:pt x="160" y="149"/>
                    <a:pt x="163" y="152"/>
                    <a:pt x="168" y="152"/>
                  </a:cubicBezTo>
                  <a:cubicBezTo>
                    <a:pt x="173" y="152"/>
                    <a:pt x="175" y="149"/>
                    <a:pt x="175" y="143"/>
                  </a:cubicBezTo>
                  <a:cubicBezTo>
                    <a:pt x="175" y="119"/>
                    <a:pt x="175" y="119"/>
                    <a:pt x="175" y="119"/>
                  </a:cubicBezTo>
                  <a:cubicBezTo>
                    <a:pt x="190" y="119"/>
                    <a:pt x="190" y="119"/>
                    <a:pt x="190" y="119"/>
                  </a:cubicBezTo>
                  <a:cubicBezTo>
                    <a:pt x="190" y="137"/>
                    <a:pt x="190" y="137"/>
                    <a:pt x="190" y="137"/>
                  </a:cubicBezTo>
                  <a:cubicBezTo>
                    <a:pt x="190" y="157"/>
                    <a:pt x="182" y="166"/>
                    <a:pt x="168" y="166"/>
                  </a:cubicBezTo>
                  <a:cubicBezTo>
                    <a:pt x="154" y="166"/>
                    <a:pt x="146" y="157"/>
                    <a:pt x="146" y="137"/>
                  </a:cubicBezTo>
                  <a:cubicBezTo>
                    <a:pt x="146" y="72"/>
                    <a:pt x="146" y="72"/>
                    <a:pt x="146" y="72"/>
                  </a:cubicBezTo>
                  <a:cubicBezTo>
                    <a:pt x="146" y="52"/>
                    <a:pt x="154" y="43"/>
                    <a:pt x="168" y="43"/>
                  </a:cubicBezTo>
                  <a:cubicBezTo>
                    <a:pt x="182" y="43"/>
                    <a:pt x="190" y="52"/>
                    <a:pt x="190" y="72"/>
                  </a:cubicBezTo>
                  <a:cubicBezTo>
                    <a:pt x="190" y="107"/>
                    <a:pt x="190" y="107"/>
                    <a:pt x="190" y="107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60" y="143"/>
                    <a:pt x="160" y="143"/>
                    <a:pt x="160" y="143"/>
                  </a:cubicBezTo>
                  <a:close/>
                  <a:moveTo>
                    <a:pt x="203" y="0"/>
                  </a:moveTo>
                  <a:cubicBezTo>
                    <a:pt x="217" y="0"/>
                    <a:pt x="217" y="0"/>
                    <a:pt x="217" y="0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21" y="88"/>
                    <a:pt x="221" y="88"/>
                    <a:pt x="221" y="88"/>
                  </a:cubicBezTo>
                  <a:cubicBezTo>
                    <a:pt x="236" y="43"/>
                    <a:pt x="236" y="43"/>
                    <a:pt x="236" y="43"/>
                  </a:cubicBezTo>
                  <a:cubicBezTo>
                    <a:pt x="251" y="43"/>
                    <a:pt x="251" y="43"/>
                    <a:pt x="251" y="43"/>
                  </a:cubicBezTo>
                  <a:cubicBezTo>
                    <a:pt x="229" y="105"/>
                    <a:pt x="229" y="105"/>
                    <a:pt x="229" y="105"/>
                  </a:cubicBezTo>
                  <a:cubicBezTo>
                    <a:pt x="251" y="166"/>
                    <a:pt x="251" y="166"/>
                    <a:pt x="251" y="166"/>
                  </a:cubicBezTo>
                  <a:cubicBezTo>
                    <a:pt x="236" y="166"/>
                    <a:pt x="236" y="166"/>
                    <a:pt x="236" y="166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7" y="110"/>
                    <a:pt x="217" y="110"/>
                    <a:pt x="217" y="110"/>
                  </a:cubicBezTo>
                  <a:cubicBezTo>
                    <a:pt x="217" y="166"/>
                    <a:pt x="217" y="166"/>
                    <a:pt x="217" y="166"/>
                  </a:cubicBezTo>
                  <a:cubicBezTo>
                    <a:pt x="203" y="166"/>
                    <a:pt x="203" y="166"/>
                    <a:pt x="203" y="166"/>
                  </a:cubicBezTo>
                  <a:lnTo>
                    <a:pt x="203" y="0"/>
                  </a:lnTo>
                  <a:close/>
                  <a:moveTo>
                    <a:pt x="259" y="0"/>
                  </a:moveTo>
                  <a:cubicBezTo>
                    <a:pt x="273" y="0"/>
                    <a:pt x="273" y="0"/>
                    <a:pt x="273" y="0"/>
                  </a:cubicBezTo>
                  <a:cubicBezTo>
                    <a:pt x="273" y="100"/>
                    <a:pt x="273" y="100"/>
                    <a:pt x="273" y="100"/>
                  </a:cubicBezTo>
                  <a:cubicBezTo>
                    <a:pt x="277" y="88"/>
                    <a:pt x="277" y="88"/>
                    <a:pt x="277" y="88"/>
                  </a:cubicBezTo>
                  <a:cubicBezTo>
                    <a:pt x="292" y="43"/>
                    <a:pt x="292" y="43"/>
                    <a:pt x="292" y="43"/>
                  </a:cubicBezTo>
                  <a:cubicBezTo>
                    <a:pt x="307" y="43"/>
                    <a:pt x="307" y="43"/>
                    <a:pt x="307" y="43"/>
                  </a:cubicBezTo>
                  <a:cubicBezTo>
                    <a:pt x="286" y="105"/>
                    <a:pt x="286" y="105"/>
                    <a:pt x="286" y="105"/>
                  </a:cubicBezTo>
                  <a:cubicBezTo>
                    <a:pt x="307" y="166"/>
                    <a:pt x="307" y="166"/>
                    <a:pt x="307" y="166"/>
                  </a:cubicBezTo>
                  <a:cubicBezTo>
                    <a:pt x="291" y="166"/>
                    <a:pt x="291" y="166"/>
                    <a:pt x="291" y="166"/>
                  </a:cubicBezTo>
                  <a:cubicBezTo>
                    <a:pt x="277" y="122"/>
                    <a:pt x="277" y="122"/>
                    <a:pt x="277" y="122"/>
                  </a:cubicBezTo>
                  <a:cubicBezTo>
                    <a:pt x="273" y="110"/>
                    <a:pt x="273" y="110"/>
                    <a:pt x="273" y="110"/>
                  </a:cubicBezTo>
                  <a:cubicBezTo>
                    <a:pt x="273" y="166"/>
                    <a:pt x="273" y="166"/>
                    <a:pt x="273" y="166"/>
                  </a:cubicBezTo>
                  <a:cubicBezTo>
                    <a:pt x="259" y="166"/>
                    <a:pt x="259" y="166"/>
                    <a:pt x="259" y="166"/>
                  </a:cubicBezTo>
                  <a:cubicBezTo>
                    <a:pt x="259" y="0"/>
                    <a:pt x="259" y="0"/>
                    <a:pt x="259" y="0"/>
                  </a:cubicBezTo>
                  <a:close/>
                  <a:moveTo>
                    <a:pt x="329" y="143"/>
                  </a:moveTo>
                  <a:cubicBezTo>
                    <a:pt x="329" y="149"/>
                    <a:pt x="332" y="152"/>
                    <a:pt x="336" y="152"/>
                  </a:cubicBezTo>
                  <a:cubicBezTo>
                    <a:pt x="341" y="152"/>
                    <a:pt x="344" y="149"/>
                    <a:pt x="344" y="143"/>
                  </a:cubicBezTo>
                  <a:cubicBezTo>
                    <a:pt x="344" y="43"/>
                    <a:pt x="344" y="43"/>
                    <a:pt x="344" y="43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58" y="166"/>
                    <a:pt x="358" y="166"/>
                    <a:pt x="358" y="166"/>
                  </a:cubicBezTo>
                  <a:cubicBezTo>
                    <a:pt x="344" y="166"/>
                    <a:pt x="344" y="166"/>
                    <a:pt x="344" y="166"/>
                  </a:cubicBezTo>
                  <a:cubicBezTo>
                    <a:pt x="344" y="161"/>
                    <a:pt x="344" y="161"/>
                    <a:pt x="344" y="161"/>
                  </a:cubicBezTo>
                  <a:cubicBezTo>
                    <a:pt x="342" y="165"/>
                    <a:pt x="338" y="166"/>
                    <a:pt x="332" y="166"/>
                  </a:cubicBezTo>
                  <a:cubicBezTo>
                    <a:pt x="321" y="166"/>
                    <a:pt x="315" y="157"/>
                    <a:pt x="315" y="137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29" y="43"/>
                    <a:pt x="329" y="43"/>
                    <a:pt x="329" y="43"/>
                  </a:cubicBezTo>
                  <a:lnTo>
                    <a:pt x="329" y="143"/>
                  </a:lnTo>
                  <a:close/>
                  <a:moveTo>
                    <a:pt x="317" y="25"/>
                  </a:moveTo>
                  <a:cubicBezTo>
                    <a:pt x="327" y="25"/>
                    <a:pt x="327" y="25"/>
                    <a:pt x="327" y="25"/>
                  </a:cubicBezTo>
                  <a:cubicBezTo>
                    <a:pt x="327" y="36"/>
                    <a:pt x="327" y="36"/>
                    <a:pt x="327" y="36"/>
                  </a:cubicBezTo>
                  <a:cubicBezTo>
                    <a:pt x="317" y="36"/>
                    <a:pt x="317" y="36"/>
                    <a:pt x="317" y="36"/>
                  </a:cubicBezTo>
                  <a:lnTo>
                    <a:pt x="317" y="25"/>
                  </a:lnTo>
                  <a:close/>
                  <a:moveTo>
                    <a:pt x="345" y="36"/>
                  </a:moveTo>
                  <a:cubicBezTo>
                    <a:pt x="345" y="25"/>
                    <a:pt x="345" y="25"/>
                    <a:pt x="345" y="25"/>
                  </a:cubicBezTo>
                  <a:cubicBezTo>
                    <a:pt x="355" y="25"/>
                    <a:pt x="355" y="25"/>
                    <a:pt x="355" y="25"/>
                  </a:cubicBezTo>
                  <a:cubicBezTo>
                    <a:pt x="355" y="36"/>
                    <a:pt x="355" y="36"/>
                    <a:pt x="355" y="36"/>
                  </a:cubicBezTo>
                  <a:lnTo>
                    <a:pt x="345" y="36"/>
                  </a:lnTo>
                  <a:close/>
                  <a:moveTo>
                    <a:pt x="386" y="48"/>
                  </a:moveTo>
                  <a:cubicBezTo>
                    <a:pt x="387" y="44"/>
                    <a:pt x="392" y="43"/>
                    <a:pt x="398" y="43"/>
                  </a:cubicBezTo>
                  <a:cubicBezTo>
                    <a:pt x="398" y="61"/>
                    <a:pt x="398" y="61"/>
                    <a:pt x="398" y="61"/>
                  </a:cubicBezTo>
                  <a:cubicBezTo>
                    <a:pt x="397" y="59"/>
                    <a:pt x="395" y="58"/>
                    <a:pt x="393" y="58"/>
                  </a:cubicBezTo>
                  <a:cubicBezTo>
                    <a:pt x="388" y="58"/>
                    <a:pt x="386" y="61"/>
                    <a:pt x="386" y="66"/>
                  </a:cubicBezTo>
                  <a:cubicBezTo>
                    <a:pt x="386" y="166"/>
                    <a:pt x="386" y="166"/>
                    <a:pt x="386" y="166"/>
                  </a:cubicBezTo>
                  <a:cubicBezTo>
                    <a:pt x="372" y="166"/>
                    <a:pt x="372" y="166"/>
                    <a:pt x="372" y="166"/>
                  </a:cubicBezTo>
                  <a:cubicBezTo>
                    <a:pt x="372" y="43"/>
                    <a:pt x="372" y="43"/>
                    <a:pt x="372" y="43"/>
                  </a:cubicBezTo>
                  <a:cubicBezTo>
                    <a:pt x="386" y="43"/>
                    <a:pt x="386" y="43"/>
                    <a:pt x="386" y="43"/>
                  </a:cubicBezTo>
                  <a:cubicBezTo>
                    <a:pt x="386" y="48"/>
                    <a:pt x="386" y="48"/>
                    <a:pt x="386" y="48"/>
                  </a:cubicBezTo>
                  <a:close/>
                  <a:moveTo>
                    <a:pt x="448" y="93"/>
                  </a:moveTo>
                  <a:cubicBezTo>
                    <a:pt x="462" y="93"/>
                    <a:pt x="462" y="93"/>
                    <a:pt x="462" y="93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2" y="60"/>
                    <a:pt x="460" y="58"/>
                    <a:pt x="455" y="58"/>
                  </a:cubicBezTo>
                  <a:cubicBezTo>
                    <a:pt x="450" y="58"/>
                    <a:pt x="448" y="61"/>
                    <a:pt x="448" y="66"/>
                  </a:cubicBezTo>
                  <a:cubicBezTo>
                    <a:pt x="448" y="93"/>
                    <a:pt x="448" y="93"/>
                    <a:pt x="448" y="93"/>
                  </a:cubicBezTo>
                  <a:close/>
                  <a:moveTo>
                    <a:pt x="448" y="143"/>
                  </a:moveTo>
                  <a:cubicBezTo>
                    <a:pt x="448" y="149"/>
                    <a:pt x="450" y="152"/>
                    <a:pt x="455" y="152"/>
                  </a:cubicBezTo>
                  <a:cubicBezTo>
                    <a:pt x="460" y="152"/>
                    <a:pt x="462" y="149"/>
                    <a:pt x="462" y="143"/>
                  </a:cubicBezTo>
                  <a:cubicBezTo>
                    <a:pt x="462" y="119"/>
                    <a:pt x="462" y="119"/>
                    <a:pt x="462" y="119"/>
                  </a:cubicBezTo>
                  <a:cubicBezTo>
                    <a:pt x="477" y="119"/>
                    <a:pt x="477" y="119"/>
                    <a:pt x="477" y="119"/>
                  </a:cubicBezTo>
                  <a:cubicBezTo>
                    <a:pt x="477" y="137"/>
                    <a:pt x="477" y="137"/>
                    <a:pt x="477" y="137"/>
                  </a:cubicBezTo>
                  <a:cubicBezTo>
                    <a:pt x="477" y="157"/>
                    <a:pt x="469" y="166"/>
                    <a:pt x="455" y="166"/>
                  </a:cubicBezTo>
                  <a:cubicBezTo>
                    <a:pt x="441" y="166"/>
                    <a:pt x="433" y="157"/>
                    <a:pt x="433" y="137"/>
                  </a:cubicBezTo>
                  <a:cubicBezTo>
                    <a:pt x="433" y="72"/>
                    <a:pt x="433" y="72"/>
                    <a:pt x="433" y="72"/>
                  </a:cubicBezTo>
                  <a:cubicBezTo>
                    <a:pt x="433" y="52"/>
                    <a:pt x="441" y="43"/>
                    <a:pt x="455" y="43"/>
                  </a:cubicBezTo>
                  <a:cubicBezTo>
                    <a:pt x="469" y="43"/>
                    <a:pt x="477" y="52"/>
                    <a:pt x="477" y="72"/>
                  </a:cubicBezTo>
                  <a:cubicBezTo>
                    <a:pt x="477" y="107"/>
                    <a:pt x="477" y="107"/>
                    <a:pt x="477" y="107"/>
                  </a:cubicBezTo>
                  <a:cubicBezTo>
                    <a:pt x="448" y="107"/>
                    <a:pt x="448" y="107"/>
                    <a:pt x="448" y="107"/>
                  </a:cubicBezTo>
                  <a:cubicBezTo>
                    <a:pt x="448" y="143"/>
                    <a:pt x="448" y="143"/>
                    <a:pt x="448" y="143"/>
                  </a:cubicBezTo>
                  <a:close/>
                  <a:moveTo>
                    <a:pt x="504" y="143"/>
                  </a:moveTo>
                  <a:cubicBezTo>
                    <a:pt x="504" y="149"/>
                    <a:pt x="507" y="152"/>
                    <a:pt x="512" y="152"/>
                  </a:cubicBezTo>
                  <a:cubicBezTo>
                    <a:pt x="517" y="152"/>
                    <a:pt x="519" y="149"/>
                    <a:pt x="519" y="143"/>
                  </a:cubicBezTo>
                  <a:cubicBezTo>
                    <a:pt x="519" y="66"/>
                    <a:pt x="519" y="66"/>
                    <a:pt x="519" y="66"/>
                  </a:cubicBezTo>
                  <a:cubicBezTo>
                    <a:pt x="519" y="60"/>
                    <a:pt x="517" y="58"/>
                    <a:pt x="512" y="58"/>
                  </a:cubicBezTo>
                  <a:cubicBezTo>
                    <a:pt x="507" y="58"/>
                    <a:pt x="504" y="61"/>
                    <a:pt x="504" y="66"/>
                  </a:cubicBezTo>
                  <a:lnTo>
                    <a:pt x="504" y="143"/>
                  </a:lnTo>
                  <a:close/>
                  <a:moveTo>
                    <a:pt x="533" y="166"/>
                  </a:moveTo>
                  <a:cubicBezTo>
                    <a:pt x="519" y="166"/>
                    <a:pt x="519" y="166"/>
                    <a:pt x="519" y="166"/>
                  </a:cubicBezTo>
                  <a:cubicBezTo>
                    <a:pt x="519" y="161"/>
                    <a:pt x="519" y="161"/>
                    <a:pt x="519" y="161"/>
                  </a:cubicBezTo>
                  <a:cubicBezTo>
                    <a:pt x="515" y="165"/>
                    <a:pt x="511" y="166"/>
                    <a:pt x="507" y="166"/>
                  </a:cubicBezTo>
                  <a:cubicBezTo>
                    <a:pt x="496" y="166"/>
                    <a:pt x="490" y="157"/>
                    <a:pt x="490" y="137"/>
                  </a:cubicBezTo>
                  <a:cubicBezTo>
                    <a:pt x="490" y="72"/>
                    <a:pt x="490" y="72"/>
                    <a:pt x="490" y="72"/>
                  </a:cubicBezTo>
                  <a:cubicBezTo>
                    <a:pt x="490" y="52"/>
                    <a:pt x="495" y="43"/>
                    <a:pt x="507" y="43"/>
                  </a:cubicBezTo>
                  <a:cubicBezTo>
                    <a:pt x="513" y="43"/>
                    <a:pt x="517" y="44"/>
                    <a:pt x="519" y="48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33" y="0"/>
                    <a:pt x="533" y="0"/>
                    <a:pt x="533" y="0"/>
                  </a:cubicBezTo>
                  <a:lnTo>
                    <a:pt x="533" y="166"/>
                  </a:lnTo>
                  <a:close/>
                  <a:moveTo>
                    <a:pt x="561" y="93"/>
                  </a:moveTo>
                  <a:cubicBezTo>
                    <a:pt x="576" y="93"/>
                    <a:pt x="576" y="93"/>
                    <a:pt x="576" y="93"/>
                  </a:cubicBezTo>
                  <a:cubicBezTo>
                    <a:pt x="576" y="66"/>
                    <a:pt x="576" y="66"/>
                    <a:pt x="576" y="66"/>
                  </a:cubicBezTo>
                  <a:cubicBezTo>
                    <a:pt x="576" y="60"/>
                    <a:pt x="573" y="58"/>
                    <a:pt x="568" y="58"/>
                  </a:cubicBezTo>
                  <a:cubicBezTo>
                    <a:pt x="564" y="58"/>
                    <a:pt x="561" y="61"/>
                    <a:pt x="561" y="66"/>
                  </a:cubicBezTo>
                  <a:cubicBezTo>
                    <a:pt x="561" y="93"/>
                    <a:pt x="561" y="93"/>
                    <a:pt x="561" y="93"/>
                  </a:cubicBezTo>
                  <a:close/>
                  <a:moveTo>
                    <a:pt x="561" y="143"/>
                  </a:moveTo>
                  <a:cubicBezTo>
                    <a:pt x="561" y="149"/>
                    <a:pt x="564" y="152"/>
                    <a:pt x="568" y="152"/>
                  </a:cubicBezTo>
                  <a:cubicBezTo>
                    <a:pt x="573" y="152"/>
                    <a:pt x="576" y="149"/>
                    <a:pt x="576" y="143"/>
                  </a:cubicBezTo>
                  <a:cubicBezTo>
                    <a:pt x="576" y="119"/>
                    <a:pt x="576" y="119"/>
                    <a:pt x="576" y="119"/>
                  </a:cubicBezTo>
                  <a:cubicBezTo>
                    <a:pt x="590" y="119"/>
                    <a:pt x="590" y="119"/>
                    <a:pt x="590" y="119"/>
                  </a:cubicBezTo>
                  <a:cubicBezTo>
                    <a:pt x="590" y="137"/>
                    <a:pt x="590" y="137"/>
                    <a:pt x="590" y="137"/>
                  </a:cubicBezTo>
                  <a:cubicBezTo>
                    <a:pt x="590" y="157"/>
                    <a:pt x="583" y="166"/>
                    <a:pt x="568" y="166"/>
                  </a:cubicBezTo>
                  <a:cubicBezTo>
                    <a:pt x="554" y="166"/>
                    <a:pt x="547" y="157"/>
                    <a:pt x="547" y="137"/>
                  </a:cubicBezTo>
                  <a:cubicBezTo>
                    <a:pt x="547" y="72"/>
                    <a:pt x="547" y="72"/>
                    <a:pt x="547" y="72"/>
                  </a:cubicBezTo>
                  <a:cubicBezTo>
                    <a:pt x="547" y="52"/>
                    <a:pt x="554" y="43"/>
                    <a:pt x="568" y="43"/>
                  </a:cubicBezTo>
                  <a:cubicBezTo>
                    <a:pt x="583" y="43"/>
                    <a:pt x="590" y="52"/>
                    <a:pt x="590" y="72"/>
                  </a:cubicBezTo>
                  <a:cubicBezTo>
                    <a:pt x="590" y="107"/>
                    <a:pt x="590" y="107"/>
                    <a:pt x="590" y="107"/>
                  </a:cubicBezTo>
                  <a:cubicBezTo>
                    <a:pt x="561" y="107"/>
                    <a:pt x="561" y="107"/>
                    <a:pt x="561" y="107"/>
                  </a:cubicBezTo>
                  <a:cubicBezTo>
                    <a:pt x="561" y="143"/>
                    <a:pt x="561" y="143"/>
                    <a:pt x="561" y="143"/>
                  </a:cubicBezTo>
                  <a:close/>
                  <a:moveTo>
                    <a:pt x="618" y="48"/>
                  </a:moveTo>
                  <a:cubicBezTo>
                    <a:pt x="619" y="44"/>
                    <a:pt x="624" y="43"/>
                    <a:pt x="631" y="43"/>
                  </a:cubicBezTo>
                  <a:cubicBezTo>
                    <a:pt x="631" y="61"/>
                    <a:pt x="631" y="61"/>
                    <a:pt x="631" y="61"/>
                  </a:cubicBezTo>
                  <a:cubicBezTo>
                    <a:pt x="629" y="59"/>
                    <a:pt x="627" y="58"/>
                    <a:pt x="625" y="58"/>
                  </a:cubicBezTo>
                  <a:cubicBezTo>
                    <a:pt x="621" y="58"/>
                    <a:pt x="618" y="61"/>
                    <a:pt x="618" y="66"/>
                  </a:cubicBezTo>
                  <a:cubicBezTo>
                    <a:pt x="618" y="166"/>
                    <a:pt x="618" y="166"/>
                    <a:pt x="618" y="166"/>
                  </a:cubicBezTo>
                  <a:cubicBezTo>
                    <a:pt x="604" y="166"/>
                    <a:pt x="604" y="166"/>
                    <a:pt x="604" y="166"/>
                  </a:cubicBezTo>
                  <a:cubicBezTo>
                    <a:pt x="604" y="43"/>
                    <a:pt x="604" y="43"/>
                    <a:pt x="604" y="43"/>
                  </a:cubicBezTo>
                  <a:cubicBezTo>
                    <a:pt x="618" y="43"/>
                    <a:pt x="618" y="43"/>
                    <a:pt x="618" y="43"/>
                  </a:cubicBezTo>
                  <a:lnTo>
                    <a:pt x="618" y="48"/>
                  </a:lnTo>
                  <a:close/>
                  <a:moveTo>
                    <a:pt x="654" y="23"/>
                  </a:moveTo>
                  <a:cubicBezTo>
                    <a:pt x="640" y="23"/>
                    <a:pt x="640" y="23"/>
                    <a:pt x="640" y="23"/>
                  </a:cubicBezTo>
                  <a:cubicBezTo>
                    <a:pt x="640" y="0"/>
                    <a:pt x="640" y="0"/>
                    <a:pt x="640" y="0"/>
                  </a:cubicBezTo>
                  <a:cubicBezTo>
                    <a:pt x="654" y="0"/>
                    <a:pt x="654" y="0"/>
                    <a:pt x="654" y="0"/>
                  </a:cubicBezTo>
                  <a:lnTo>
                    <a:pt x="654" y="23"/>
                  </a:lnTo>
                  <a:close/>
                  <a:moveTo>
                    <a:pt x="654" y="166"/>
                  </a:moveTo>
                  <a:cubicBezTo>
                    <a:pt x="640" y="166"/>
                    <a:pt x="640" y="166"/>
                    <a:pt x="640" y="166"/>
                  </a:cubicBezTo>
                  <a:cubicBezTo>
                    <a:pt x="640" y="43"/>
                    <a:pt x="640" y="43"/>
                    <a:pt x="640" y="43"/>
                  </a:cubicBezTo>
                  <a:cubicBezTo>
                    <a:pt x="654" y="43"/>
                    <a:pt x="654" y="43"/>
                    <a:pt x="654" y="43"/>
                  </a:cubicBezTo>
                  <a:lnTo>
                    <a:pt x="654" y="166"/>
                  </a:lnTo>
                  <a:close/>
                  <a:moveTo>
                    <a:pt x="725" y="66"/>
                  </a:moveTo>
                  <a:cubicBezTo>
                    <a:pt x="725" y="60"/>
                    <a:pt x="723" y="58"/>
                    <a:pt x="718" y="58"/>
                  </a:cubicBezTo>
                  <a:cubicBezTo>
                    <a:pt x="713" y="58"/>
                    <a:pt x="711" y="60"/>
                    <a:pt x="711" y="66"/>
                  </a:cubicBezTo>
                  <a:cubicBezTo>
                    <a:pt x="711" y="166"/>
                    <a:pt x="711" y="166"/>
                    <a:pt x="711" y="166"/>
                  </a:cubicBezTo>
                  <a:cubicBezTo>
                    <a:pt x="696" y="166"/>
                    <a:pt x="696" y="166"/>
                    <a:pt x="696" y="166"/>
                  </a:cubicBezTo>
                  <a:cubicBezTo>
                    <a:pt x="696" y="66"/>
                    <a:pt x="696" y="66"/>
                    <a:pt x="696" y="66"/>
                  </a:cubicBezTo>
                  <a:cubicBezTo>
                    <a:pt x="696" y="60"/>
                    <a:pt x="694" y="58"/>
                    <a:pt x="689" y="58"/>
                  </a:cubicBezTo>
                  <a:cubicBezTo>
                    <a:pt x="684" y="58"/>
                    <a:pt x="682" y="61"/>
                    <a:pt x="682" y="66"/>
                  </a:cubicBezTo>
                  <a:cubicBezTo>
                    <a:pt x="682" y="166"/>
                    <a:pt x="682" y="166"/>
                    <a:pt x="682" y="166"/>
                  </a:cubicBezTo>
                  <a:cubicBezTo>
                    <a:pt x="668" y="166"/>
                    <a:pt x="668" y="166"/>
                    <a:pt x="668" y="166"/>
                  </a:cubicBezTo>
                  <a:cubicBezTo>
                    <a:pt x="668" y="43"/>
                    <a:pt x="668" y="43"/>
                    <a:pt x="668" y="43"/>
                  </a:cubicBezTo>
                  <a:cubicBezTo>
                    <a:pt x="682" y="43"/>
                    <a:pt x="682" y="43"/>
                    <a:pt x="682" y="43"/>
                  </a:cubicBezTo>
                  <a:cubicBezTo>
                    <a:pt x="682" y="48"/>
                    <a:pt x="682" y="48"/>
                    <a:pt x="682" y="48"/>
                  </a:cubicBezTo>
                  <a:cubicBezTo>
                    <a:pt x="684" y="44"/>
                    <a:pt x="687" y="43"/>
                    <a:pt x="694" y="43"/>
                  </a:cubicBezTo>
                  <a:cubicBezTo>
                    <a:pt x="700" y="43"/>
                    <a:pt x="704" y="46"/>
                    <a:pt x="708" y="51"/>
                  </a:cubicBezTo>
                  <a:cubicBezTo>
                    <a:pt x="710" y="46"/>
                    <a:pt x="716" y="43"/>
                    <a:pt x="723" y="43"/>
                  </a:cubicBezTo>
                  <a:cubicBezTo>
                    <a:pt x="734" y="43"/>
                    <a:pt x="740" y="52"/>
                    <a:pt x="740" y="72"/>
                  </a:cubicBezTo>
                  <a:cubicBezTo>
                    <a:pt x="740" y="166"/>
                    <a:pt x="740" y="166"/>
                    <a:pt x="740" y="166"/>
                  </a:cubicBezTo>
                  <a:cubicBezTo>
                    <a:pt x="725" y="166"/>
                    <a:pt x="725" y="166"/>
                    <a:pt x="725" y="166"/>
                  </a:cubicBezTo>
                  <a:cubicBezTo>
                    <a:pt x="725" y="66"/>
                    <a:pt x="725" y="66"/>
                    <a:pt x="725" y="6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644526" y="3371068"/>
              <a:ext cx="1481138" cy="553641"/>
            </a:xfrm>
            <a:custGeom>
              <a:avLst/>
              <a:gdLst/>
              <a:ahLst/>
              <a:cxnLst>
                <a:cxn ang="0">
                  <a:pos x="20" y="88"/>
                </a:cxn>
                <a:cxn ang="0">
                  <a:pos x="39" y="191"/>
                </a:cxn>
                <a:cxn ang="0">
                  <a:pos x="29" y="222"/>
                </a:cxn>
                <a:cxn ang="0">
                  <a:pos x="29" y="57"/>
                </a:cxn>
                <a:cxn ang="0">
                  <a:pos x="115" y="88"/>
                </a:cxn>
                <a:cxn ang="0">
                  <a:pos x="95" y="191"/>
                </a:cxn>
                <a:cxn ang="0">
                  <a:pos x="115" y="88"/>
                </a:cxn>
                <a:cxn ang="0">
                  <a:pos x="95" y="63"/>
                </a:cxn>
                <a:cxn ang="0">
                  <a:pos x="134" y="183"/>
                </a:cxn>
                <a:cxn ang="0">
                  <a:pos x="85" y="222"/>
                </a:cxn>
                <a:cxn ang="0">
                  <a:pos x="171" y="63"/>
                </a:cxn>
                <a:cxn ang="0">
                  <a:pos x="181" y="77"/>
                </a:cxn>
                <a:cxn ang="0">
                  <a:pos x="152" y="222"/>
                </a:cxn>
                <a:cxn ang="0">
                  <a:pos x="171" y="63"/>
                </a:cxn>
                <a:cxn ang="0">
                  <a:pos x="200" y="0"/>
                </a:cxn>
                <a:cxn ang="0">
                  <a:pos x="220" y="222"/>
                </a:cxn>
                <a:cxn ang="0">
                  <a:pos x="220" y="57"/>
                </a:cxn>
                <a:cxn ang="0">
                  <a:pos x="266" y="198"/>
                </a:cxn>
                <a:cxn ang="0">
                  <a:pos x="266" y="77"/>
                </a:cxn>
                <a:cxn ang="0">
                  <a:pos x="266" y="241"/>
                </a:cxn>
                <a:cxn ang="0">
                  <a:pos x="259" y="218"/>
                </a:cxn>
                <a:cxn ang="0">
                  <a:pos x="259" y="57"/>
                </a:cxn>
                <a:cxn ang="0">
                  <a:pos x="295" y="57"/>
                </a:cxn>
                <a:cxn ang="0">
                  <a:pos x="238" y="231"/>
                </a:cxn>
                <a:cxn ang="0">
                  <a:pos x="351" y="148"/>
                </a:cxn>
                <a:cxn ang="0">
                  <a:pos x="332" y="172"/>
                </a:cxn>
                <a:cxn ang="0">
                  <a:pos x="351" y="191"/>
                </a:cxn>
                <a:cxn ang="0">
                  <a:pos x="327" y="140"/>
                </a:cxn>
                <a:cxn ang="0">
                  <a:pos x="351" y="88"/>
                </a:cxn>
                <a:cxn ang="0">
                  <a:pos x="334" y="119"/>
                </a:cxn>
                <a:cxn ang="0">
                  <a:pos x="342" y="57"/>
                </a:cxn>
                <a:cxn ang="0">
                  <a:pos x="351" y="222"/>
                </a:cxn>
                <a:cxn ang="0">
                  <a:pos x="313" y="183"/>
                </a:cxn>
                <a:cxn ang="0">
                  <a:pos x="417" y="202"/>
                </a:cxn>
                <a:cxn ang="0">
                  <a:pos x="417" y="77"/>
                </a:cxn>
                <a:cxn ang="0">
                  <a:pos x="446" y="222"/>
                </a:cxn>
                <a:cxn ang="0">
                  <a:pos x="410" y="222"/>
                </a:cxn>
                <a:cxn ang="0">
                  <a:pos x="410" y="57"/>
                </a:cxn>
                <a:cxn ang="0">
                  <a:pos x="446" y="0"/>
                </a:cxn>
                <a:cxn ang="0">
                  <a:pos x="493" y="77"/>
                </a:cxn>
                <a:cxn ang="0">
                  <a:pos x="493" y="202"/>
                </a:cxn>
                <a:cxn ang="0">
                  <a:pos x="522" y="183"/>
                </a:cxn>
                <a:cxn ang="0">
                  <a:pos x="464" y="96"/>
                </a:cxn>
                <a:cxn ang="0">
                  <a:pos x="522" y="183"/>
                </a:cxn>
              </a:cxnLst>
              <a:rect l="0" t="0" r="r" b="b"/>
              <a:pathLst>
                <a:path w="522" h="261">
                  <a:moveTo>
                    <a:pt x="39" y="88"/>
                  </a:moveTo>
                  <a:cubicBezTo>
                    <a:pt x="39" y="81"/>
                    <a:pt x="36" y="77"/>
                    <a:pt x="29" y="77"/>
                  </a:cubicBezTo>
                  <a:cubicBezTo>
                    <a:pt x="23" y="77"/>
                    <a:pt x="20" y="81"/>
                    <a:pt x="20" y="88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9"/>
                    <a:pt x="23" y="202"/>
                    <a:pt x="29" y="202"/>
                  </a:cubicBezTo>
                  <a:cubicBezTo>
                    <a:pt x="36" y="202"/>
                    <a:pt x="39" y="199"/>
                    <a:pt x="39" y="191"/>
                  </a:cubicBezTo>
                  <a:lnTo>
                    <a:pt x="39" y="88"/>
                  </a:lnTo>
                  <a:close/>
                  <a:moveTo>
                    <a:pt x="58" y="183"/>
                  </a:moveTo>
                  <a:cubicBezTo>
                    <a:pt x="58" y="209"/>
                    <a:pt x="49" y="222"/>
                    <a:pt x="29" y="222"/>
                  </a:cubicBezTo>
                  <a:cubicBezTo>
                    <a:pt x="10" y="222"/>
                    <a:pt x="0" y="209"/>
                    <a:pt x="0" y="18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70"/>
                    <a:pt x="10" y="57"/>
                    <a:pt x="29" y="57"/>
                  </a:cubicBezTo>
                  <a:cubicBezTo>
                    <a:pt x="49" y="57"/>
                    <a:pt x="58" y="70"/>
                    <a:pt x="58" y="96"/>
                  </a:cubicBezTo>
                  <a:lnTo>
                    <a:pt x="58" y="183"/>
                  </a:lnTo>
                  <a:close/>
                  <a:moveTo>
                    <a:pt x="115" y="88"/>
                  </a:moveTo>
                  <a:cubicBezTo>
                    <a:pt x="115" y="81"/>
                    <a:pt x="112" y="77"/>
                    <a:pt x="105" y="77"/>
                  </a:cubicBezTo>
                  <a:cubicBezTo>
                    <a:pt x="99" y="77"/>
                    <a:pt x="95" y="81"/>
                    <a:pt x="95" y="88"/>
                  </a:cubicBezTo>
                  <a:cubicBezTo>
                    <a:pt x="95" y="191"/>
                    <a:pt x="95" y="191"/>
                    <a:pt x="95" y="191"/>
                  </a:cubicBezTo>
                  <a:cubicBezTo>
                    <a:pt x="95" y="199"/>
                    <a:pt x="99" y="202"/>
                    <a:pt x="105" y="202"/>
                  </a:cubicBezTo>
                  <a:cubicBezTo>
                    <a:pt x="112" y="202"/>
                    <a:pt x="115" y="199"/>
                    <a:pt x="115" y="191"/>
                  </a:cubicBezTo>
                  <a:lnTo>
                    <a:pt x="115" y="88"/>
                  </a:lnTo>
                  <a:close/>
                  <a:moveTo>
                    <a:pt x="76" y="0"/>
                  </a:moveTo>
                  <a:cubicBezTo>
                    <a:pt x="95" y="0"/>
                    <a:pt x="95" y="0"/>
                    <a:pt x="95" y="0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98" y="59"/>
                    <a:pt x="103" y="57"/>
                    <a:pt x="111" y="57"/>
                  </a:cubicBezTo>
                  <a:cubicBezTo>
                    <a:pt x="126" y="57"/>
                    <a:pt x="134" y="70"/>
                    <a:pt x="134" y="96"/>
                  </a:cubicBezTo>
                  <a:cubicBezTo>
                    <a:pt x="134" y="183"/>
                    <a:pt x="134" y="183"/>
                    <a:pt x="134" y="183"/>
                  </a:cubicBezTo>
                  <a:cubicBezTo>
                    <a:pt x="134" y="209"/>
                    <a:pt x="126" y="222"/>
                    <a:pt x="109" y="222"/>
                  </a:cubicBezTo>
                  <a:cubicBezTo>
                    <a:pt x="99" y="222"/>
                    <a:pt x="92" y="218"/>
                    <a:pt x="88" y="209"/>
                  </a:cubicBezTo>
                  <a:cubicBezTo>
                    <a:pt x="85" y="222"/>
                    <a:pt x="85" y="222"/>
                    <a:pt x="85" y="222"/>
                  </a:cubicBezTo>
                  <a:cubicBezTo>
                    <a:pt x="76" y="222"/>
                    <a:pt x="76" y="222"/>
                    <a:pt x="76" y="222"/>
                  </a:cubicBezTo>
                  <a:cubicBezTo>
                    <a:pt x="76" y="0"/>
                    <a:pt x="76" y="0"/>
                    <a:pt x="76" y="0"/>
                  </a:cubicBezTo>
                  <a:close/>
                  <a:moveTo>
                    <a:pt x="171" y="63"/>
                  </a:moveTo>
                  <a:cubicBezTo>
                    <a:pt x="173" y="59"/>
                    <a:pt x="179" y="57"/>
                    <a:pt x="188" y="57"/>
                  </a:cubicBezTo>
                  <a:cubicBezTo>
                    <a:pt x="188" y="81"/>
                    <a:pt x="188" y="81"/>
                    <a:pt x="188" y="81"/>
                  </a:cubicBezTo>
                  <a:cubicBezTo>
                    <a:pt x="186" y="78"/>
                    <a:pt x="184" y="77"/>
                    <a:pt x="181" y="77"/>
                  </a:cubicBezTo>
                  <a:cubicBezTo>
                    <a:pt x="174" y="77"/>
                    <a:pt x="171" y="81"/>
                    <a:pt x="171" y="88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52" y="222"/>
                    <a:pt x="152" y="222"/>
                    <a:pt x="152" y="222"/>
                  </a:cubicBezTo>
                  <a:cubicBezTo>
                    <a:pt x="152" y="57"/>
                    <a:pt x="152" y="57"/>
                    <a:pt x="152" y="57"/>
                  </a:cubicBezTo>
                  <a:cubicBezTo>
                    <a:pt x="171" y="57"/>
                    <a:pt x="171" y="57"/>
                    <a:pt x="171" y="57"/>
                  </a:cubicBezTo>
                  <a:lnTo>
                    <a:pt x="171" y="63"/>
                  </a:lnTo>
                  <a:close/>
                  <a:moveTo>
                    <a:pt x="220" y="30"/>
                  </a:moveTo>
                  <a:cubicBezTo>
                    <a:pt x="200" y="30"/>
                    <a:pt x="200" y="30"/>
                    <a:pt x="200" y="3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220" y="30"/>
                  </a:lnTo>
                  <a:close/>
                  <a:moveTo>
                    <a:pt x="220" y="222"/>
                  </a:moveTo>
                  <a:cubicBezTo>
                    <a:pt x="200" y="222"/>
                    <a:pt x="200" y="222"/>
                    <a:pt x="200" y="222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20" y="57"/>
                    <a:pt x="220" y="57"/>
                    <a:pt x="220" y="57"/>
                  </a:cubicBezTo>
                  <a:lnTo>
                    <a:pt x="220" y="222"/>
                  </a:lnTo>
                  <a:close/>
                  <a:moveTo>
                    <a:pt x="257" y="187"/>
                  </a:moveTo>
                  <a:cubicBezTo>
                    <a:pt x="257" y="194"/>
                    <a:pt x="259" y="198"/>
                    <a:pt x="266" y="198"/>
                  </a:cubicBezTo>
                  <a:cubicBezTo>
                    <a:pt x="272" y="198"/>
                    <a:pt x="275" y="195"/>
                    <a:pt x="276" y="189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6" y="80"/>
                    <a:pt x="272" y="77"/>
                    <a:pt x="266" y="77"/>
                  </a:cubicBezTo>
                  <a:cubicBezTo>
                    <a:pt x="259" y="77"/>
                    <a:pt x="257" y="80"/>
                    <a:pt x="257" y="88"/>
                  </a:cubicBezTo>
                  <a:lnTo>
                    <a:pt x="257" y="187"/>
                  </a:lnTo>
                  <a:close/>
                  <a:moveTo>
                    <a:pt x="266" y="241"/>
                  </a:moveTo>
                  <a:cubicBezTo>
                    <a:pt x="272" y="241"/>
                    <a:pt x="276" y="237"/>
                    <a:pt x="276" y="230"/>
                  </a:cubicBezTo>
                  <a:cubicBezTo>
                    <a:pt x="276" y="212"/>
                    <a:pt x="276" y="212"/>
                    <a:pt x="276" y="212"/>
                  </a:cubicBezTo>
                  <a:cubicBezTo>
                    <a:pt x="273" y="216"/>
                    <a:pt x="268" y="218"/>
                    <a:pt x="259" y="218"/>
                  </a:cubicBezTo>
                  <a:cubicBezTo>
                    <a:pt x="244" y="218"/>
                    <a:pt x="237" y="205"/>
                    <a:pt x="237" y="179"/>
                  </a:cubicBezTo>
                  <a:cubicBezTo>
                    <a:pt x="237" y="96"/>
                    <a:pt x="237" y="96"/>
                    <a:pt x="237" y="96"/>
                  </a:cubicBezTo>
                  <a:cubicBezTo>
                    <a:pt x="237" y="70"/>
                    <a:pt x="244" y="57"/>
                    <a:pt x="259" y="57"/>
                  </a:cubicBezTo>
                  <a:cubicBezTo>
                    <a:pt x="265" y="57"/>
                    <a:pt x="271" y="59"/>
                    <a:pt x="276" y="64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95" y="57"/>
                    <a:pt x="295" y="57"/>
                    <a:pt x="295" y="57"/>
                  </a:cubicBezTo>
                  <a:cubicBezTo>
                    <a:pt x="295" y="222"/>
                    <a:pt x="295" y="222"/>
                    <a:pt x="295" y="222"/>
                  </a:cubicBezTo>
                  <a:cubicBezTo>
                    <a:pt x="295" y="248"/>
                    <a:pt x="285" y="261"/>
                    <a:pt x="266" y="261"/>
                  </a:cubicBezTo>
                  <a:cubicBezTo>
                    <a:pt x="249" y="261"/>
                    <a:pt x="239" y="251"/>
                    <a:pt x="238" y="231"/>
                  </a:cubicBezTo>
                  <a:cubicBezTo>
                    <a:pt x="257" y="231"/>
                    <a:pt x="257" y="231"/>
                    <a:pt x="257" y="231"/>
                  </a:cubicBezTo>
                  <a:cubicBezTo>
                    <a:pt x="257" y="238"/>
                    <a:pt x="260" y="241"/>
                    <a:pt x="266" y="241"/>
                  </a:cubicBezTo>
                  <a:close/>
                  <a:moveTo>
                    <a:pt x="351" y="148"/>
                  </a:moveTo>
                  <a:cubicBezTo>
                    <a:pt x="349" y="149"/>
                    <a:pt x="346" y="150"/>
                    <a:pt x="344" y="152"/>
                  </a:cubicBezTo>
                  <a:cubicBezTo>
                    <a:pt x="342" y="153"/>
                    <a:pt x="340" y="155"/>
                    <a:pt x="338" y="157"/>
                  </a:cubicBezTo>
                  <a:cubicBezTo>
                    <a:pt x="334" y="159"/>
                    <a:pt x="332" y="165"/>
                    <a:pt x="332" y="172"/>
                  </a:cubicBezTo>
                  <a:cubicBezTo>
                    <a:pt x="332" y="191"/>
                    <a:pt x="332" y="191"/>
                    <a:pt x="332" y="191"/>
                  </a:cubicBezTo>
                  <a:cubicBezTo>
                    <a:pt x="332" y="199"/>
                    <a:pt x="335" y="202"/>
                    <a:pt x="341" y="202"/>
                  </a:cubicBezTo>
                  <a:cubicBezTo>
                    <a:pt x="348" y="202"/>
                    <a:pt x="351" y="199"/>
                    <a:pt x="351" y="191"/>
                  </a:cubicBezTo>
                  <a:cubicBezTo>
                    <a:pt x="351" y="148"/>
                    <a:pt x="351" y="148"/>
                    <a:pt x="351" y="148"/>
                  </a:cubicBezTo>
                  <a:close/>
                  <a:moveTo>
                    <a:pt x="313" y="170"/>
                  </a:moveTo>
                  <a:cubicBezTo>
                    <a:pt x="313" y="158"/>
                    <a:pt x="318" y="148"/>
                    <a:pt x="327" y="140"/>
                  </a:cubicBezTo>
                  <a:cubicBezTo>
                    <a:pt x="332" y="137"/>
                    <a:pt x="337" y="134"/>
                    <a:pt x="341" y="131"/>
                  </a:cubicBezTo>
                  <a:cubicBezTo>
                    <a:pt x="345" y="128"/>
                    <a:pt x="348" y="126"/>
                    <a:pt x="351" y="124"/>
                  </a:cubicBezTo>
                  <a:cubicBezTo>
                    <a:pt x="351" y="88"/>
                    <a:pt x="351" y="88"/>
                    <a:pt x="351" y="88"/>
                  </a:cubicBezTo>
                  <a:cubicBezTo>
                    <a:pt x="351" y="81"/>
                    <a:pt x="348" y="77"/>
                    <a:pt x="342" y="77"/>
                  </a:cubicBezTo>
                  <a:cubicBezTo>
                    <a:pt x="336" y="77"/>
                    <a:pt x="334" y="81"/>
                    <a:pt x="334" y="88"/>
                  </a:cubicBezTo>
                  <a:cubicBezTo>
                    <a:pt x="334" y="119"/>
                    <a:pt x="334" y="119"/>
                    <a:pt x="334" y="119"/>
                  </a:cubicBezTo>
                  <a:cubicBezTo>
                    <a:pt x="315" y="119"/>
                    <a:pt x="315" y="119"/>
                    <a:pt x="315" y="119"/>
                  </a:cubicBezTo>
                  <a:cubicBezTo>
                    <a:pt x="315" y="96"/>
                    <a:pt x="315" y="96"/>
                    <a:pt x="315" y="96"/>
                  </a:cubicBezTo>
                  <a:cubicBezTo>
                    <a:pt x="315" y="70"/>
                    <a:pt x="324" y="57"/>
                    <a:pt x="342" y="57"/>
                  </a:cubicBezTo>
                  <a:cubicBezTo>
                    <a:pt x="361" y="57"/>
                    <a:pt x="370" y="70"/>
                    <a:pt x="370" y="96"/>
                  </a:cubicBezTo>
                  <a:cubicBezTo>
                    <a:pt x="370" y="222"/>
                    <a:pt x="370" y="222"/>
                    <a:pt x="370" y="222"/>
                  </a:cubicBezTo>
                  <a:cubicBezTo>
                    <a:pt x="351" y="222"/>
                    <a:pt x="351" y="222"/>
                    <a:pt x="351" y="222"/>
                  </a:cubicBezTo>
                  <a:cubicBezTo>
                    <a:pt x="351" y="215"/>
                    <a:pt x="351" y="215"/>
                    <a:pt x="351" y="215"/>
                  </a:cubicBezTo>
                  <a:cubicBezTo>
                    <a:pt x="348" y="219"/>
                    <a:pt x="343" y="222"/>
                    <a:pt x="336" y="222"/>
                  </a:cubicBezTo>
                  <a:cubicBezTo>
                    <a:pt x="321" y="222"/>
                    <a:pt x="313" y="209"/>
                    <a:pt x="313" y="183"/>
                  </a:cubicBezTo>
                  <a:lnTo>
                    <a:pt x="313" y="170"/>
                  </a:lnTo>
                  <a:close/>
                  <a:moveTo>
                    <a:pt x="407" y="191"/>
                  </a:moveTo>
                  <a:cubicBezTo>
                    <a:pt x="407" y="199"/>
                    <a:pt x="411" y="202"/>
                    <a:pt x="417" y="202"/>
                  </a:cubicBezTo>
                  <a:cubicBezTo>
                    <a:pt x="424" y="202"/>
                    <a:pt x="427" y="199"/>
                    <a:pt x="427" y="191"/>
                  </a:cubicBezTo>
                  <a:cubicBezTo>
                    <a:pt x="427" y="88"/>
                    <a:pt x="427" y="88"/>
                    <a:pt x="427" y="88"/>
                  </a:cubicBezTo>
                  <a:cubicBezTo>
                    <a:pt x="427" y="81"/>
                    <a:pt x="424" y="77"/>
                    <a:pt x="417" y="77"/>
                  </a:cubicBezTo>
                  <a:cubicBezTo>
                    <a:pt x="411" y="77"/>
                    <a:pt x="407" y="81"/>
                    <a:pt x="407" y="88"/>
                  </a:cubicBezTo>
                  <a:lnTo>
                    <a:pt x="407" y="191"/>
                  </a:lnTo>
                  <a:close/>
                  <a:moveTo>
                    <a:pt x="446" y="222"/>
                  </a:moveTo>
                  <a:cubicBezTo>
                    <a:pt x="427" y="222"/>
                    <a:pt x="427" y="222"/>
                    <a:pt x="427" y="222"/>
                  </a:cubicBezTo>
                  <a:cubicBezTo>
                    <a:pt x="427" y="214"/>
                    <a:pt x="427" y="214"/>
                    <a:pt x="427" y="214"/>
                  </a:cubicBezTo>
                  <a:cubicBezTo>
                    <a:pt x="421" y="219"/>
                    <a:pt x="416" y="222"/>
                    <a:pt x="410" y="222"/>
                  </a:cubicBezTo>
                  <a:cubicBezTo>
                    <a:pt x="395" y="222"/>
                    <a:pt x="388" y="209"/>
                    <a:pt x="388" y="183"/>
                  </a:cubicBezTo>
                  <a:cubicBezTo>
                    <a:pt x="388" y="96"/>
                    <a:pt x="388" y="96"/>
                    <a:pt x="388" y="96"/>
                  </a:cubicBezTo>
                  <a:cubicBezTo>
                    <a:pt x="388" y="70"/>
                    <a:pt x="395" y="57"/>
                    <a:pt x="410" y="57"/>
                  </a:cubicBezTo>
                  <a:cubicBezTo>
                    <a:pt x="419" y="57"/>
                    <a:pt x="425" y="59"/>
                    <a:pt x="427" y="63"/>
                  </a:cubicBezTo>
                  <a:cubicBezTo>
                    <a:pt x="427" y="0"/>
                    <a:pt x="427" y="0"/>
                    <a:pt x="427" y="0"/>
                  </a:cubicBezTo>
                  <a:cubicBezTo>
                    <a:pt x="446" y="0"/>
                    <a:pt x="446" y="0"/>
                    <a:pt x="446" y="0"/>
                  </a:cubicBezTo>
                  <a:lnTo>
                    <a:pt x="446" y="222"/>
                  </a:lnTo>
                  <a:close/>
                  <a:moveTo>
                    <a:pt x="502" y="88"/>
                  </a:moveTo>
                  <a:cubicBezTo>
                    <a:pt x="502" y="81"/>
                    <a:pt x="499" y="77"/>
                    <a:pt x="493" y="77"/>
                  </a:cubicBezTo>
                  <a:cubicBezTo>
                    <a:pt x="486" y="77"/>
                    <a:pt x="483" y="81"/>
                    <a:pt x="483" y="88"/>
                  </a:cubicBezTo>
                  <a:cubicBezTo>
                    <a:pt x="483" y="191"/>
                    <a:pt x="483" y="191"/>
                    <a:pt x="483" y="191"/>
                  </a:cubicBezTo>
                  <a:cubicBezTo>
                    <a:pt x="483" y="199"/>
                    <a:pt x="486" y="202"/>
                    <a:pt x="493" y="202"/>
                  </a:cubicBezTo>
                  <a:cubicBezTo>
                    <a:pt x="499" y="202"/>
                    <a:pt x="502" y="199"/>
                    <a:pt x="502" y="191"/>
                  </a:cubicBezTo>
                  <a:lnTo>
                    <a:pt x="502" y="88"/>
                  </a:lnTo>
                  <a:close/>
                  <a:moveTo>
                    <a:pt x="522" y="183"/>
                  </a:moveTo>
                  <a:cubicBezTo>
                    <a:pt x="522" y="209"/>
                    <a:pt x="512" y="222"/>
                    <a:pt x="493" y="222"/>
                  </a:cubicBezTo>
                  <a:cubicBezTo>
                    <a:pt x="474" y="222"/>
                    <a:pt x="464" y="209"/>
                    <a:pt x="464" y="183"/>
                  </a:cubicBezTo>
                  <a:cubicBezTo>
                    <a:pt x="464" y="96"/>
                    <a:pt x="464" y="96"/>
                    <a:pt x="464" y="96"/>
                  </a:cubicBezTo>
                  <a:cubicBezTo>
                    <a:pt x="464" y="70"/>
                    <a:pt x="474" y="57"/>
                    <a:pt x="493" y="57"/>
                  </a:cubicBezTo>
                  <a:cubicBezTo>
                    <a:pt x="512" y="57"/>
                    <a:pt x="522" y="70"/>
                    <a:pt x="522" y="96"/>
                  </a:cubicBezTo>
                  <a:cubicBezTo>
                    <a:pt x="522" y="183"/>
                    <a:pt x="522" y="183"/>
                    <a:pt x="522" y="18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2292352" y="1535124"/>
              <a:ext cx="1273175" cy="590550"/>
            </a:xfrm>
            <a:custGeom>
              <a:avLst/>
              <a:gdLst/>
              <a:ahLst/>
              <a:cxnLst>
                <a:cxn ang="0">
                  <a:pos x="36" y="253"/>
                </a:cxn>
                <a:cxn ang="0">
                  <a:pos x="49" y="111"/>
                </a:cxn>
                <a:cxn ang="0">
                  <a:pos x="24" y="111"/>
                </a:cxn>
                <a:cxn ang="0">
                  <a:pos x="72" y="278"/>
                </a:cxn>
                <a:cxn ang="0">
                  <a:pos x="49" y="269"/>
                </a:cxn>
                <a:cxn ang="0">
                  <a:pos x="0" y="229"/>
                </a:cxn>
                <a:cxn ang="0">
                  <a:pos x="27" y="71"/>
                </a:cxn>
                <a:cxn ang="0">
                  <a:pos x="49" y="0"/>
                </a:cxn>
                <a:cxn ang="0">
                  <a:pos x="72" y="278"/>
                </a:cxn>
                <a:cxn ang="0">
                  <a:pos x="134" y="191"/>
                </a:cxn>
                <a:cxn ang="0">
                  <a:pos x="119" y="216"/>
                </a:cxn>
                <a:cxn ang="0">
                  <a:pos x="130" y="253"/>
                </a:cxn>
                <a:cxn ang="0">
                  <a:pos x="143" y="185"/>
                </a:cxn>
                <a:cxn ang="0">
                  <a:pos x="113" y="176"/>
                </a:cxn>
                <a:cxn ang="0">
                  <a:pos x="143" y="155"/>
                </a:cxn>
                <a:cxn ang="0">
                  <a:pos x="131" y="97"/>
                </a:cxn>
                <a:cxn ang="0">
                  <a:pos x="121" y="149"/>
                </a:cxn>
                <a:cxn ang="0">
                  <a:pos x="97" y="121"/>
                </a:cxn>
                <a:cxn ang="0">
                  <a:pos x="167" y="121"/>
                </a:cxn>
                <a:cxn ang="0">
                  <a:pos x="143" y="278"/>
                </a:cxn>
                <a:cxn ang="0">
                  <a:pos x="123" y="278"/>
                </a:cxn>
                <a:cxn ang="0">
                  <a:pos x="95" y="214"/>
                </a:cxn>
                <a:cxn ang="0">
                  <a:pos x="225" y="97"/>
                </a:cxn>
                <a:cxn ang="0">
                  <a:pos x="213" y="278"/>
                </a:cxn>
                <a:cxn ang="0">
                  <a:pos x="189" y="71"/>
                </a:cxn>
                <a:cxn ang="0">
                  <a:pos x="213" y="80"/>
                </a:cxn>
                <a:cxn ang="0">
                  <a:pos x="261" y="121"/>
                </a:cxn>
                <a:cxn ang="0">
                  <a:pos x="237" y="278"/>
                </a:cxn>
                <a:cxn ang="0">
                  <a:pos x="284" y="0"/>
                </a:cxn>
                <a:cxn ang="0">
                  <a:pos x="307" y="167"/>
                </a:cxn>
                <a:cxn ang="0">
                  <a:pos x="339" y="71"/>
                </a:cxn>
                <a:cxn ang="0">
                  <a:pos x="328" y="176"/>
                </a:cxn>
                <a:cxn ang="0">
                  <a:pos x="338" y="278"/>
                </a:cxn>
                <a:cxn ang="0">
                  <a:pos x="307" y="183"/>
                </a:cxn>
                <a:cxn ang="0">
                  <a:pos x="284" y="278"/>
                </a:cxn>
                <a:cxn ang="0">
                  <a:pos x="400" y="155"/>
                </a:cxn>
                <a:cxn ang="0">
                  <a:pos x="425" y="111"/>
                </a:cxn>
                <a:cxn ang="0">
                  <a:pos x="400" y="111"/>
                </a:cxn>
                <a:cxn ang="0">
                  <a:pos x="400" y="239"/>
                </a:cxn>
                <a:cxn ang="0">
                  <a:pos x="425" y="239"/>
                </a:cxn>
                <a:cxn ang="0">
                  <a:pos x="449" y="199"/>
                </a:cxn>
                <a:cxn ang="0">
                  <a:pos x="412" y="278"/>
                </a:cxn>
                <a:cxn ang="0">
                  <a:pos x="376" y="121"/>
                </a:cxn>
                <a:cxn ang="0">
                  <a:pos x="449" y="121"/>
                </a:cxn>
                <a:cxn ang="0">
                  <a:pos x="400" y="179"/>
                </a:cxn>
              </a:cxnLst>
              <a:rect l="0" t="0" r="r" b="b"/>
              <a:pathLst>
                <a:path w="449" h="278">
                  <a:moveTo>
                    <a:pt x="24" y="239"/>
                  </a:moveTo>
                  <a:cubicBezTo>
                    <a:pt x="24" y="248"/>
                    <a:pt x="29" y="253"/>
                    <a:pt x="36" y="253"/>
                  </a:cubicBezTo>
                  <a:cubicBezTo>
                    <a:pt x="44" y="253"/>
                    <a:pt x="49" y="248"/>
                    <a:pt x="49" y="239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9" y="101"/>
                    <a:pt x="44" y="97"/>
                    <a:pt x="36" y="97"/>
                  </a:cubicBezTo>
                  <a:cubicBezTo>
                    <a:pt x="29" y="97"/>
                    <a:pt x="24" y="101"/>
                    <a:pt x="24" y="111"/>
                  </a:cubicBezTo>
                  <a:lnTo>
                    <a:pt x="24" y="239"/>
                  </a:lnTo>
                  <a:close/>
                  <a:moveTo>
                    <a:pt x="72" y="278"/>
                  </a:moveTo>
                  <a:cubicBezTo>
                    <a:pt x="49" y="278"/>
                    <a:pt x="49" y="278"/>
                    <a:pt x="49" y="278"/>
                  </a:cubicBezTo>
                  <a:cubicBezTo>
                    <a:pt x="49" y="269"/>
                    <a:pt x="49" y="269"/>
                    <a:pt x="49" y="269"/>
                  </a:cubicBezTo>
                  <a:cubicBezTo>
                    <a:pt x="42" y="275"/>
                    <a:pt x="35" y="278"/>
                    <a:pt x="27" y="278"/>
                  </a:cubicBezTo>
                  <a:cubicBezTo>
                    <a:pt x="9" y="278"/>
                    <a:pt x="0" y="262"/>
                    <a:pt x="0" y="229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88"/>
                    <a:pt x="9" y="71"/>
                    <a:pt x="27" y="71"/>
                  </a:cubicBezTo>
                  <a:cubicBezTo>
                    <a:pt x="39" y="71"/>
                    <a:pt x="46" y="74"/>
                    <a:pt x="49" y="8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72" y="278"/>
                  </a:lnTo>
                  <a:close/>
                  <a:moveTo>
                    <a:pt x="143" y="185"/>
                  </a:moveTo>
                  <a:cubicBezTo>
                    <a:pt x="139" y="187"/>
                    <a:pt x="136" y="189"/>
                    <a:pt x="134" y="191"/>
                  </a:cubicBezTo>
                  <a:cubicBezTo>
                    <a:pt x="131" y="192"/>
                    <a:pt x="129" y="194"/>
                    <a:pt x="126" y="196"/>
                  </a:cubicBezTo>
                  <a:cubicBezTo>
                    <a:pt x="121" y="200"/>
                    <a:pt x="119" y="207"/>
                    <a:pt x="119" y="216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19" y="248"/>
                    <a:pt x="122" y="253"/>
                    <a:pt x="130" y="253"/>
                  </a:cubicBezTo>
                  <a:cubicBezTo>
                    <a:pt x="138" y="253"/>
                    <a:pt x="143" y="248"/>
                    <a:pt x="143" y="239"/>
                  </a:cubicBezTo>
                  <a:cubicBezTo>
                    <a:pt x="143" y="185"/>
                    <a:pt x="143" y="185"/>
                    <a:pt x="143" y="185"/>
                  </a:cubicBezTo>
                  <a:close/>
                  <a:moveTo>
                    <a:pt x="95" y="214"/>
                  </a:moveTo>
                  <a:cubicBezTo>
                    <a:pt x="95" y="197"/>
                    <a:pt x="101" y="185"/>
                    <a:pt x="113" y="176"/>
                  </a:cubicBezTo>
                  <a:cubicBezTo>
                    <a:pt x="120" y="171"/>
                    <a:pt x="125" y="168"/>
                    <a:pt x="130" y="164"/>
                  </a:cubicBezTo>
                  <a:cubicBezTo>
                    <a:pt x="135" y="161"/>
                    <a:pt x="139" y="158"/>
                    <a:pt x="143" y="155"/>
                  </a:cubicBezTo>
                  <a:cubicBezTo>
                    <a:pt x="143" y="111"/>
                    <a:pt x="143" y="111"/>
                    <a:pt x="143" y="111"/>
                  </a:cubicBezTo>
                  <a:cubicBezTo>
                    <a:pt x="143" y="101"/>
                    <a:pt x="139" y="97"/>
                    <a:pt x="131" y="97"/>
                  </a:cubicBezTo>
                  <a:cubicBezTo>
                    <a:pt x="125" y="97"/>
                    <a:pt x="121" y="101"/>
                    <a:pt x="121" y="111"/>
                  </a:cubicBezTo>
                  <a:cubicBezTo>
                    <a:pt x="121" y="149"/>
                    <a:pt x="121" y="149"/>
                    <a:pt x="121" y="149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97" y="121"/>
                    <a:pt x="97" y="121"/>
                    <a:pt x="97" y="121"/>
                  </a:cubicBezTo>
                  <a:cubicBezTo>
                    <a:pt x="97" y="88"/>
                    <a:pt x="109" y="71"/>
                    <a:pt x="131" y="71"/>
                  </a:cubicBezTo>
                  <a:cubicBezTo>
                    <a:pt x="155" y="71"/>
                    <a:pt x="167" y="88"/>
                    <a:pt x="167" y="121"/>
                  </a:cubicBezTo>
                  <a:cubicBezTo>
                    <a:pt x="167" y="278"/>
                    <a:pt x="167" y="278"/>
                    <a:pt x="167" y="278"/>
                  </a:cubicBezTo>
                  <a:cubicBezTo>
                    <a:pt x="143" y="278"/>
                    <a:pt x="143" y="278"/>
                    <a:pt x="143" y="278"/>
                  </a:cubicBezTo>
                  <a:cubicBezTo>
                    <a:pt x="143" y="269"/>
                    <a:pt x="143" y="269"/>
                    <a:pt x="143" y="269"/>
                  </a:cubicBezTo>
                  <a:cubicBezTo>
                    <a:pt x="139" y="275"/>
                    <a:pt x="132" y="278"/>
                    <a:pt x="123" y="278"/>
                  </a:cubicBezTo>
                  <a:cubicBezTo>
                    <a:pt x="104" y="278"/>
                    <a:pt x="95" y="262"/>
                    <a:pt x="95" y="229"/>
                  </a:cubicBezTo>
                  <a:cubicBezTo>
                    <a:pt x="95" y="214"/>
                    <a:pt x="95" y="214"/>
                    <a:pt x="95" y="214"/>
                  </a:cubicBezTo>
                  <a:close/>
                  <a:moveTo>
                    <a:pt x="237" y="111"/>
                  </a:moveTo>
                  <a:cubicBezTo>
                    <a:pt x="237" y="101"/>
                    <a:pt x="233" y="97"/>
                    <a:pt x="225" y="97"/>
                  </a:cubicBezTo>
                  <a:cubicBezTo>
                    <a:pt x="217" y="97"/>
                    <a:pt x="213" y="101"/>
                    <a:pt x="213" y="111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189" y="278"/>
                    <a:pt x="189" y="278"/>
                    <a:pt x="189" y="278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213" y="71"/>
                    <a:pt x="213" y="71"/>
                    <a:pt x="213" y="71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6" y="74"/>
                    <a:pt x="222" y="71"/>
                    <a:pt x="232" y="71"/>
                  </a:cubicBezTo>
                  <a:cubicBezTo>
                    <a:pt x="252" y="71"/>
                    <a:pt x="261" y="88"/>
                    <a:pt x="261" y="121"/>
                  </a:cubicBezTo>
                  <a:cubicBezTo>
                    <a:pt x="261" y="278"/>
                    <a:pt x="261" y="278"/>
                    <a:pt x="261" y="278"/>
                  </a:cubicBezTo>
                  <a:cubicBezTo>
                    <a:pt x="237" y="278"/>
                    <a:pt x="237" y="278"/>
                    <a:pt x="237" y="278"/>
                  </a:cubicBezTo>
                  <a:cubicBezTo>
                    <a:pt x="237" y="111"/>
                    <a:pt x="237" y="111"/>
                    <a:pt x="237" y="111"/>
                  </a:cubicBezTo>
                  <a:close/>
                  <a:moveTo>
                    <a:pt x="284" y="0"/>
                  </a:moveTo>
                  <a:cubicBezTo>
                    <a:pt x="307" y="0"/>
                    <a:pt x="307" y="0"/>
                    <a:pt x="307" y="0"/>
                  </a:cubicBezTo>
                  <a:cubicBezTo>
                    <a:pt x="307" y="167"/>
                    <a:pt x="307" y="167"/>
                    <a:pt x="307" y="167"/>
                  </a:cubicBezTo>
                  <a:cubicBezTo>
                    <a:pt x="314" y="147"/>
                    <a:pt x="314" y="147"/>
                    <a:pt x="314" y="147"/>
                  </a:cubicBezTo>
                  <a:cubicBezTo>
                    <a:pt x="339" y="71"/>
                    <a:pt x="339" y="71"/>
                    <a:pt x="339" y="71"/>
                  </a:cubicBezTo>
                  <a:cubicBezTo>
                    <a:pt x="364" y="71"/>
                    <a:pt x="364" y="71"/>
                    <a:pt x="364" y="71"/>
                  </a:cubicBezTo>
                  <a:cubicBezTo>
                    <a:pt x="328" y="176"/>
                    <a:pt x="328" y="176"/>
                    <a:pt x="328" y="176"/>
                  </a:cubicBezTo>
                  <a:cubicBezTo>
                    <a:pt x="363" y="278"/>
                    <a:pt x="363" y="278"/>
                    <a:pt x="363" y="278"/>
                  </a:cubicBezTo>
                  <a:cubicBezTo>
                    <a:pt x="338" y="278"/>
                    <a:pt x="338" y="278"/>
                    <a:pt x="338" y="278"/>
                  </a:cubicBezTo>
                  <a:cubicBezTo>
                    <a:pt x="314" y="204"/>
                    <a:pt x="314" y="204"/>
                    <a:pt x="314" y="204"/>
                  </a:cubicBezTo>
                  <a:cubicBezTo>
                    <a:pt x="307" y="183"/>
                    <a:pt x="307" y="183"/>
                    <a:pt x="307" y="183"/>
                  </a:cubicBezTo>
                  <a:cubicBezTo>
                    <a:pt x="307" y="278"/>
                    <a:pt x="307" y="278"/>
                    <a:pt x="307" y="278"/>
                  </a:cubicBezTo>
                  <a:cubicBezTo>
                    <a:pt x="284" y="278"/>
                    <a:pt x="284" y="278"/>
                    <a:pt x="284" y="278"/>
                  </a:cubicBezTo>
                  <a:lnTo>
                    <a:pt x="284" y="0"/>
                  </a:lnTo>
                  <a:close/>
                  <a:moveTo>
                    <a:pt x="400" y="155"/>
                  </a:moveTo>
                  <a:cubicBezTo>
                    <a:pt x="425" y="155"/>
                    <a:pt x="425" y="155"/>
                    <a:pt x="425" y="155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5" y="101"/>
                    <a:pt x="421" y="97"/>
                    <a:pt x="412" y="97"/>
                  </a:cubicBezTo>
                  <a:cubicBezTo>
                    <a:pt x="404" y="97"/>
                    <a:pt x="400" y="101"/>
                    <a:pt x="400" y="111"/>
                  </a:cubicBezTo>
                  <a:cubicBezTo>
                    <a:pt x="400" y="155"/>
                    <a:pt x="400" y="155"/>
                    <a:pt x="400" y="155"/>
                  </a:cubicBezTo>
                  <a:close/>
                  <a:moveTo>
                    <a:pt x="400" y="239"/>
                  </a:moveTo>
                  <a:cubicBezTo>
                    <a:pt x="400" y="248"/>
                    <a:pt x="404" y="253"/>
                    <a:pt x="412" y="253"/>
                  </a:cubicBezTo>
                  <a:cubicBezTo>
                    <a:pt x="421" y="253"/>
                    <a:pt x="425" y="248"/>
                    <a:pt x="425" y="239"/>
                  </a:cubicBezTo>
                  <a:cubicBezTo>
                    <a:pt x="425" y="199"/>
                    <a:pt x="425" y="199"/>
                    <a:pt x="425" y="199"/>
                  </a:cubicBezTo>
                  <a:cubicBezTo>
                    <a:pt x="449" y="199"/>
                    <a:pt x="449" y="199"/>
                    <a:pt x="449" y="199"/>
                  </a:cubicBezTo>
                  <a:cubicBezTo>
                    <a:pt x="449" y="229"/>
                    <a:pt x="449" y="229"/>
                    <a:pt x="449" y="229"/>
                  </a:cubicBezTo>
                  <a:cubicBezTo>
                    <a:pt x="449" y="261"/>
                    <a:pt x="436" y="278"/>
                    <a:pt x="412" y="278"/>
                  </a:cubicBezTo>
                  <a:cubicBezTo>
                    <a:pt x="389" y="278"/>
                    <a:pt x="376" y="262"/>
                    <a:pt x="376" y="229"/>
                  </a:cubicBezTo>
                  <a:cubicBezTo>
                    <a:pt x="376" y="121"/>
                    <a:pt x="376" y="121"/>
                    <a:pt x="376" y="121"/>
                  </a:cubicBezTo>
                  <a:cubicBezTo>
                    <a:pt x="376" y="88"/>
                    <a:pt x="389" y="71"/>
                    <a:pt x="412" y="71"/>
                  </a:cubicBezTo>
                  <a:cubicBezTo>
                    <a:pt x="436" y="71"/>
                    <a:pt x="449" y="88"/>
                    <a:pt x="449" y="121"/>
                  </a:cubicBezTo>
                  <a:cubicBezTo>
                    <a:pt x="449" y="179"/>
                    <a:pt x="449" y="179"/>
                    <a:pt x="449" y="179"/>
                  </a:cubicBezTo>
                  <a:cubicBezTo>
                    <a:pt x="400" y="179"/>
                    <a:pt x="400" y="179"/>
                    <a:pt x="400" y="179"/>
                  </a:cubicBezTo>
                  <a:cubicBezTo>
                    <a:pt x="400" y="239"/>
                    <a:pt x="400" y="239"/>
                    <a:pt x="400" y="23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1509713" y="2936489"/>
              <a:ext cx="1066800" cy="415529"/>
            </a:xfrm>
            <a:custGeom>
              <a:avLst/>
              <a:gdLst/>
              <a:ahLst/>
              <a:cxnLst>
                <a:cxn ang="0">
                  <a:pos x="29" y="144"/>
                </a:cxn>
                <a:cxn ang="0">
                  <a:pos x="15" y="67"/>
                </a:cxn>
                <a:cxn ang="0">
                  <a:pos x="29" y="167"/>
                </a:cxn>
                <a:cxn ang="0">
                  <a:pos x="0" y="137"/>
                </a:cxn>
                <a:cxn ang="0">
                  <a:pos x="29" y="48"/>
                </a:cxn>
                <a:cxn ang="0">
                  <a:pos x="43" y="167"/>
                </a:cxn>
                <a:cxn ang="0">
                  <a:pos x="95" y="61"/>
                </a:cxn>
                <a:cxn ang="0">
                  <a:pos x="94" y="167"/>
                </a:cxn>
                <a:cxn ang="0">
                  <a:pos x="81" y="58"/>
                </a:cxn>
                <a:cxn ang="0">
                  <a:pos x="121" y="23"/>
                </a:cxn>
                <a:cxn ang="0">
                  <a:pos x="121" y="0"/>
                </a:cxn>
                <a:cxn ang="0">
                  <a:pos x="107" y="167"/>
                </a:cxn>
                <a:cxn ang="0">
                  <a:pos x="121" y="167"/>
                </a:cxn>
                <a:cxn ang="0">
                  <a:pos x="164" y="67"/>
                </a:cxn>
                <a:cxn ang="0">
                  <a:pos x="149" y="93"/>
                </a:cxn>
                <a:cxn ang="0">
                  <a:pos x="164" y="144"/>
                </a:cxn>
                <a:cxn ang="0">
                  <a:pos x="178" y="137"/>
                </a:cxn>
                <a:cxn ang="0">
                  <a:pos x="135" y="72"/>
                </a:cxn>
                <a:cxn ang="0">
                  <a:pos x="178" y="108"/>
                </a:cxn>
                <a:cxn ang="0">
                  <a:pos x="144" y="165"/>
                </a:cxn>
                <a:cxn ang="0">
                  <a:pos x="147" y="178"/>
                </a:cxn>
                <a:cxn ang="0">
                  <a:pos x="148" y="186"/>
                </a:cxn>
                <a:cxn ang="0">
                  <a:pos x="135" y="186"/>
                </a:cxn>
                <a:cxn ang="0">
                  <a:pos x="144" y="165"/>
                </a:cxn>
                <a:cxn ang="0">
                  <a:pos x="206" y="100"/>
                </a:cxn>
                <a:cxn ang="0">
                  <a:pos x="240" y="43"/>
                </a:cxn>
                <a:cxn ang="0">
                  <a:pos x="224" y="167"/>
                </a:cxn>
                <a:cxn ang="0">
                  <a:pos x="206" y="167"/>
                </a:cxn>
                <a:cxn ang="0">
                  <a:pos x="262" y="144"/>
                </a:cxn>
                <a:cxn ang="0">
                  <a:pos x="276" y="43"/>
                </a:cxn>
                <a:cxn ang="0">
                  <a:pos x="276" y="167"/>
                </a:cxn>
                <a:cxn ang="0">
                  <a:pos x="248" y="137"/>
                </a:cxn>
                <a:cxn ang="0">
                  <a:pos x="262" y="144"/>
                </a:cxn>
                <a:cxn ang="0">
                  <a:pos x="306" y="0"/>
                </a:cxn>
                <a:cxn ang="0">
                  <a:pos x="294" y="181"/>
                </a:cxn>
                <a:cxn ang="0">
                  <a:pos x="320" y="43"/>
                </a:cxn>
                <a:cxn ang="0">
                  <a:pos x="294" y="181"/>
                </a:cxn>
                <a:cxn ang="0">
                  <a:pos x="362" y="67"/>
                </a:cxn>
                <a:cxn ang="0">
                  <a:pos x="348" y="93"/>
                </a:cxn>
                <a:cxn ang="0">
                  <a:pos x="362" y="144"/>
                </a:cxn>
                <a:cxn ang="0">
                  <a:pos x="376" y="137"/>
                </a:cxn>
                <a:cxn ang="0">
                  <a:pos x="333" y="72"/>
                </a:cxn>
                <a:cxn ang="0">
                  <a:pos x="376" y="108"/>
                </a:cxn>
                <a:cxn ang="0">
                  <a:pos x="342" y="165"/>
                </a:cxn>
                <a:cxn ang="0">
                  <a:pos x="345" y="178"/>
                </a:cxn>
                <a:cxn ang="0">
                  <a:pos x="347" y="186"/>
                </a:cxn>
                <a:cxn ang="0">
                  <a:pos x="333" y="186"/>
                </a:cxn>
                <a:cxn ang="0">
                  <a:pos x="342" y="165"/>
                </a:cxn>
              </a:cxnLst>
              <a:rect l="0" t="0" r="r" b="b"/>
              <a:pathLst>
                <a:path w="376" h="196">
                  <a:moveTo>
                    <a:pt x="15" y="144"/>
                  </a:moveTo>
                  <a:cubicBezTo>
                    <a:pt x="15" y="149"/>
                    <a:pt x="17" y="152"/>
                    <a:pt x="22" y="152"/>
                  </a:cubicBezTo>
                  <a:cubicBezTo>
                    <a:pt x="26" y="152"/>
                    <a:pt x="29" y="149"/>
                    <a:pt x="29" y="144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1"/>
                    <a:pt x="26" y="58"/>
                    <a:pt x="22" y="58"/>
                  </a:cubicBezTo>
                  <a:cubicBezTo>
                    <a:pt x="17" y="58"/>
                    <a:pt x="15" y="61"/>
                    <a:pt x="15" y="67"/>
                  </a:cubicBezTo>
                  <a:lnTo>
                    <a:pt x="15" y="144"/>
                  </a:lnTo>
                  <a:close/>
                  <a:moveTo>
                    <a:pt x="43" y="167"/>
                  </a:moveTo>
                  <a:cubicBezTo>
                    <a:pt x="29" y="167"/>
                    <a:pt x="29" y="167"/>
                    <a:pt x="29" y="167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5" y="165"/>
                    <a:pt x="21" y="167"/>
                    <a:pt x="16" y="167"/>
                  </a:cubicBezTo>
                  <a:cubicBezTo>
                    <a:pt x="6" y="167"/>
                    <a:pt x="0" y="157"/>
                    <a:pt x="0" y="13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53"/>
                    <a:pt x="6" y="43"/>
                    <a:pt x="16" y="43"/>
                  </a:cubicBezTo>
                  <a:cubicBezTo>
                    <a:pt x="23" y="43"/>
                    <a:pt x="27" y="45"/>
                    <a:pt x="29" y="48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3" y="0"/>
                    <a:pt x="43" y="0"/>
                    <a:pt x="43" y="0"/>
                  </a:cubicBezTo>
                  <a:lnTo>
                    <a:pt x="43" y="167"/>
                  </a:lnTo>
                  <a:close/>
                  <a:moveTo>
                    <a:pt x="57" y="43"/>
                  </a:moveTo>
                  <a:cubicBezTo>
                    <a:pt x="95" y="43"/>
                    <a:pt x="95" y="43"/>
                    <a:pt x="95" y="43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70" y="152"/>
                    <a:pt x="70" y="152"/>
                    <a:pt x="70" y="152"/>
                  </a:cubicBezTo>
                  <a:cubicBezTo>
                    <a:pt x="94" y="152"/>
                    <a:pt x="94" y="152"/>
                    <a:pt x="94" y="152"/>
                  </a:cubicBezTo>
                  <a:cubicBezTo>
                    <a:pt x="94" y="167"/>
                    <a:pt x="94" y="167"/>
                    <a:pt x="94" y="167"/>
                  </a:cubicBezTo>
                  <a:cubicBezTo>
                    <a:pt x="56" y="167"/>
                    <a:pt x="56" y="167"/>
                    <a:pt x="56" y="167"/>
                  </a:cubicBezTo>
                  <a:cubicBezTo>
                    <a:pt x="56" y="151"/>
                    <a:pt x="56" y="151"/>
                    <a:pt x="56" y="151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57" y="58"/>
                    <a:pt x="57" y="58"/>
                    <a:pt x="57" y="58"/>
                  </a:cubicBezTo>
                  <a:lnTo>
                    <a:pt x="57" y="43"/>
                  </a:lnTo>
                  <a:close/>
                  <a:moveTo>
                    <a:pt x="121" y="23"/>
                  </a:moveTo>
                  <a:cubicBezTo>
                    <a:pt x="107" y="23"/>
                    <a:pt x="107" y="23"/>
                    <a:pt x="107" y="23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21" y="0"/>
                    <a:pt x="121" y="0"/>
                    <a:pt x="121" y="0"/>
                  </a:cubicBezTo>
                  <a:lnTo>
                    <a:pt x="121" y="23"/>
                  </a:lnTo>
                  <a:close/>
                  <a:moveTo>
                    <a:pt x="121" y="167"/>
                  </a:moveTo>
                  <a:cubicBezTo>
                    <a:pt x="107" y="167"/>
                    <a:pt x="107" y="167"/>
                    <a:pt x="107" y="167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21" y="43"/>
                    <a:pt x="121" y="43"/>
                    <a:pt x="121" y="43"/>
                  </a:cubicBezTo>
                  <a:lnTo>
                    <a:pt x="121" y="167"/>
                  </a:lnTo>
                  <a:close/>
                  <a:moveTo>
                    <a:pt x="149" y="93"/>
                  </a:moveTo>
                  <a:cubicBezTo>
                    <a:pt x="164" y="93"/>
                    <a:pt x="164" y="93"/>
                    <a:pt x="164" y="93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4" y="61"/>
                    <a:pt x="161" y="58"/>
                    <a:pt x="156" y="58"/>
                  </a:cubicBezTo>
                  <a:cubicBezTo>
                    <a:pt x="152" y="58"/>
                    <a:pt x="149" y="61"/>
                    <a:pt x="149" y="67"/>
                  </a:cubicBezTo>
                  <a:cubicBezTo>
                    <a:pt x="149" y="93"/>
                    <a:pt x="149" y="93"/>
                    <a:pt x="149" y="93"/>
                  </a:cubicBezTo>
                  <a:close/>
                  <a:moveTo>
                    <a:pt x="149" y="144"/>
                  </a:moveTo>
                  <a:cubicBezTo>
                    <a:pt x="149" y="149"/>
                    <a:pt x="152" y="152"/>
                    <a:pt x="156" y="152"/>
                  </a:cubicBezTo>
                  <a:cubicBezTo>
                    <a:pt x="161" y="152"/>
                    <a:pt x="164" y="149"/>
                    <a:pt x="164" y="144"/>
                  </a:cubicBezTo>
                  <a:cubicBezTo>
                    <a:pt x="164" y="120"/>
                    <a:pt x="164" y="120"/>
                    <a:pt x="164" y="120"/>
                  </a:cubicBezTo>
                  <a:cubicBezTo>
                    <a:pt x="178" y="120"/>
                    <a:pt x="178" y="120"/>
                    <a:pt x="178" y="120"/>
                  </a:cubicBezTo>
                  <a:cubicBezTo>
                    <a:pt x="178" y="137"/>
                    <a:pt x="178" y="137"/>
                    <a:pt x="178" y="137"/>
                  </a:cubicBezTo>
                  <a:cubicBezTo>
                    <a:pt x="178" y="157"/>
                    <a:pt x="171" y="167"/>
                    <a:pt x="156" y="167"/>
                  </a:cubicBezTo>
                  <a:cubicBezTo>
                    <a:pt x="142" y="167"/>
                    <a:pt x="135" y="157"/>
                    <a:pt x="135" y="137"/>
                  </a:cubicBezTo>
                  <a:cubicBezTo>
                    <a:pt x="135" y="72"/>
                    <a:pt x="135" y="72"/>
                    <a:pt x="135" y="72"/>
                  </a:cubicBezTo>
                  <a:cubicBezTo>
                    <a:pt x="135" y="53"/>
                    <a:pt x="142" y="43"/>
                    <a:pt x="156" y="43"/>
                  </a:cubicBezTo>
                  <a:cubicBezTo>
                    <a:pt x="171" y="43"/>
                    <a:pt x="178" y="53"/>
                    <a:pt x="178" y="72"/>
                  </a:cubicBezTo>
                  <a:cubicBezTo>
                    <a:pt x="178" y="108"/>
                    <a:pt x="178" y="108"/>
                    <a:pt x="178" y="108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9" y="144"/>
                    <a:pt x="149" y="144"/>
                    <a:pt x="149" y="144"/>
                  </a:cubicBezTo>
                  <a:close/>
                  <a:moveTo>
                    <a:pt x="144" y="165"/>
                  </a:moveTo>
                  <a:cubicBezTo>
                    <a:pt x="151" y="165"/>
                    <a:pt x="151" y="165"/>
                    <a:pt x="151" y="165"/>
                  </a:cubicBezTo>
                  <a:cubicBezTo>
                    <a:pt x="151" y="168"/>
                    <a:pt x="151" y="168"/>
                    <a:pt x="151" y="168"/>
                  </a:cubicBezTo>
                  <a:cubicBezTo>
                    <a:pt x="151" y="172"/>
                    <a:pt x="149" y="175"/>
                    <a:pt x="147" y="178"/>
                  </a:cubicBezTo>
                  <a:cubicBezTo>
                    <a:pt x="144" y="180"/>
                    <a:pt x="142" y="183"/>
                    <a:pt x="142" y="187"/>
                  </a:cubicBezTo>
                  <a:cubicBezTo>
                    <a:pt x="142" y="190"/>
                    <a:pt x="143" y="191"/>
                    <a:pt x="145" y="191"/>
                  </a:cubicBezTo>
                  <a:cubicBezTo>
                    <a:pt x="148" y="191"/>
                    <a:pt x="149" y="190"/>
                    <a:pt x="148" y="186"/>
                  </a:cubicBezTo>
                  <a:cubicBezTo>
                    <a:pt x="156" y="186"/>
                    <a:pt x="156" y="186"/>
                    <a:pt x="156" y="186"/>
                  </a:cubicBezTo>
                  <a:cubicBezTo>
                    <a:pt x="156" y="193"/>
                    <a:pt x="153" y="196"/>
                    <a:pt x="145" y="196"/>
                  </a:cubicBezTo>
                  <a:cubicBezTo>
                    <a:pt x="138" y="196"/>
                    <a:pt x="135" y="193"/>
                    <a:pt x="135" y="186"/>
                  </a:cubicBezTo>
                  <a:cubicBezTo>
                    <a:pt x="135" y="182"/>
                    <a:pt x="136" y="178"/>
                    <a:pt x="139" y="176"/>
                  </a:cubicBezTo>
                  <a:cubicBezTo>
                    <a:pt x="142" y="174"/>
                    <a:pt x="144" y="171"/>
                    <a:pt x="144" y="167"/>
                  </a:cubicBezTo>
                  <a:cubicBezTo>
                    <a:pt x="144" y="165"/>
                    <a:pt x="144" y="165"/>
                    <a:pt x="144" y="165"/>
                  </a:cubicBezTo>
                  <a:close/>
                  <a:moveTo>
                    <a:pt x="192" y="0"/>
                  </a:moveTo>
                  <a:cubicBezTo>
                    <a:pt x="206" y="0"/>
                    <a:pt x="206" y="0"/>
                    <a:pt x="206" y="0"/>
                  </a:cubicBezTo>
                  <a:cubicBezTo>
                    <a:pt x="206" y="100"/>
                    <a:pt x="206" y="100"/>
                    <a:pt x="206" y="100"/>
                  </a:cubicBezTo>
                  <a:cubicBezTo>
                    <a:pt x="210" y="88"/>
                    <a:pt x="210" y="88"/>
                    <a:pt x="210" y="88"/>
                  </a:cubicBezTo>
                  <a:cubicBezTo>
                    <a:pt x="225" y="43"/>
                    <a:pt x="225" y="43"/>
                    <a:pt x="225" y="43"/>
                  </a:cubicBezTo>
                  <a:cubicBezTo>
                    <a:pt x="240" y="43"/>
                    <a:pt x="240" y="43"/>
                    <a:pt x="240" y="43"/>
                  </a:cubicBezTo>
                  <a:cubicBezTo>
                    <a:pt x="219" y="105"/>
                    <a:pt x="219" y="105"/>
                    <a:pt x="219" y="105"/>
                  </a:cubicBezTo>
                  <a:cubicBezTo>
                    <a:pt x="239" y="167"/>
                    <a:pt x="239" y="167"/>
                    <a:pt x="239" y="167"/>
                  </a:cubicBezTo>
                  <a:cubicBezTo>
                    <a:pt x="224" y="167"/>
                    <a:pt x="224" y="167"/>
                    <a:pt x="224" y="167"/>
                  </a:cubicBezTo>
                  <a:cubicBezTo>
                    <a:pt x="210" y="123"/>
                    <a:pt x="210" y="123"/>
                    <a:pt x="210" y="123"/>
                  </a:cubicBezTo>
                  <a:cubicBezTo>
                    <a:pt x="206" y="110"/>
                    <a:pt x="206" y="110"/>
                    <a:pt x="206" y="110"/>
                  </a:cubicBezTo>
                  <a:cubicBezTo>
                    <a:pt x="206" y="167"/>
                    <a:pt x="206" y="167"/>
                    <a:pt x="206" y="167"/>
                  </a:cubicBezTo>
                  <a:cubicBezTo>
                    <a:pt x="192" y="167"/>
                    <a:pt x="192" y="167"/>
                    <a:pt x="192" y="167"/>
                  </a:cubicBezTo>
                  <a:cubicBezTo>
                    <a:pt x="192" y="0"/>
                    <a:pt x="192" y="0"/>
                    <a:pt x="192" y="0"/>
                  </a:cubicBezTo>
                  <a:close/>
                  <a:moveTo>
                    <a:pt x="262" y="144"/>
                  </a:moveTo>
                  <a:cubicBezTo>
                    <a:pt x="262" y="149"/>
                    <a:pt x="264" y="152"/>
                    <a:pt x="269" y="152"/>
                  </a:cubicBezTo>
                  <a:cubicBezTo>
                    <a:pt x="274" y="152"/>
                    <a:pt x="276" y="149"/>
                    <a:pt x="276" y="144"/>
                  </a:cubicBezTo>
                  <a:cubicBezTo>
                    <a:pt x="276" y="43"/>
                    <a:pt x="276" y="43"/>
                    <a:pt x="276" y="43"/>
                  </a:cubicBezTo>
                  <a:cubicBezTo>
                    <a:pt x="291" y="43"/>
                    <a:pt x="291" y="43"/>
                    <a:pt x="291" y="43"/>
                  </a:cubicBezTo>
                  <a:cubicBezTo>
                    <a:pt x="291" y="167"/>
                    <a:pt x="291" y="167"/>
                    <a:pt x="291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62"/>
                    <a:pt x="276" y="162"/>
                    <a:pt x="276" y="162"/>
                  </a:cubicBezTo>
                  <a:cubicBezTo>
                    <a:pt x="275" y="165"/>
                    <a:pt x="271" y="167"/>
                    <a:pt x="265" y="167"/>
                  </a:cubicBezTo>
                  <a:cubicBezTo>
                    <a:pt x="253" y="167"/>
                    <a:pt x="248" y="157"/>
                    <a:pt x="248" y="137"/>
                  </a:cubicBezTo>
                  <a:cubicBezTo>
                    <a:pt x="248" y="43"/>
                    <a:pt x="248" y="43"/>
                    <a:pt x="248" y="43"/>
                  </a:cubicBezTo>
                  <a:cubicBezTo>
                    <a:pt x="262" y="43"/>
                    <a:pt x="262" y="43"/>
                    <a:pt x="262" y="43"/>
                  </a:cubicBezTo>
                  <a:lnTo>
                    <a:pt x="262" y="144"/>
                  </a:lnTo>
                  <a:close/>
                  <a:moveTo>
                    <a:pt x="320" y="23"/>
                  </a:moveTo>
                  <a:cubicBezTo>
                    <a:pt x="306" y="23"/>
                    <a:pt x="306" y="23"/>
                    <a:pt x="306" y="23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320" y="0"/>
                    <a:pt x="320" y="0"/>
                    <a:pt x="320" y="0"/>
                  </a:cubicBezTo>
                  <a:lnTo>
                    <a:pt x="320" y="23"/>
                  </a:lnTo>
                  <a:close/>
                  <a:moveTo>
                    <a:pt x="294" y="181"/>
                  </a:moveTo>
                  <a:cubicBezTo>
                    <a:pt x="302" y="181"/>
                    <a:pt x="306" y="178"/>
                    <a:pt x="306" y="171"/>
                  </a:cubicBezTo>
                  <a:cubicBezTo>
                    <a:pt x="306" y="43"/>
                    <a:pt x="306" y="43"/>
                    <a:pt x="306" y="43"/>
                  </a:cubicBezTo>
                  <a:cubicBezTo>
                    <a:pt x="320" y="43"/>
                    <a:pt x="320" y="43"/>
                    <a:pt x="320" y="43"/>
                  </a:cubicBezTo>
                  <a:cubicBezTo>
                    <a:pt x="320" y="165"/>
                    <a:pt x="320" y="165"/>
                    <a:pt x="320" y="165"/>
                  </a:cubicBezTo>
                  <a:cubicBezTo>
                    <a:pt x="320" y="186"/>
                    <a:pt x="311" y="196"/>
                    <a:pt x="294" y="196"/>
                  </a:cubicBezTo>
                  <a:cubicBezTo>
                    <a:pt x="294" y="181"/>
                    <a:pt x="294" y="181"/>
                    <a:pt x="294" y="181"/>
                  </a:cubicBezTo>
                  <a:close/>
                  <a:moveTo>
                    <a:pt x="348" y="93"/>
                  </a:moveTo>
                  <a:cubicBezTo>
                    <a:pt x="362" y="93"/>
                    <a:pt x="362" y="93"/>
                    <a:pt x="362" y="93"/>
                  </a:cubicBezTo>
                  <a:cubicBezTo>
                    <a:pt x="362" y="67"/>
                    <a:pt x="362" y="67"/>
                    <a:pt x="362" y="67"/>
                  </a:cubicBezTo>
                  <a:cubicBezTo>
                    <a:pt x="362" y="61"/>
                    <a:pt x="360" y="58"/>
                    <a:pt x="355" y="58"/>
                  </a:cubicBezTo>
                  <a:cubicBezTo>
                    <a:pt x="350" y="58"/>
                    <a:pt x="348" y="61"/>
                    <a:pt x="348" y="67"/>
                  </a:cubicBezTo>
                  <a:cubicBezTo>
                    <a:pt x="348" y="93"/>
                    <a:pt x="348" y="93"/>
                    <a:pt x="348" y="93"/>
                  </a:cubicBezTo>
                  <a:close/>
                  <a:moveTo>
                    <a:pt x="348" y="144"/>
                  </a:moveTo>
                  <a:cubicBezTo>
                    <a:pt x="348" y="149"/>
                    <a:pt x="350" y="152"/>
                    <a:pt x="355" y="152"/>
                  </a:cubicBezTo>
                  <a:cubicBezTo>
                    <a:pt x="360" y="152"/>
                    <a:pt x="362" y="149"/>
                    <a:pt x="362" y="144"/>
                  </a:cubicBezTo>
                  <a:cubicBezTo>
                    <a:pt x="362" y="120"/>
                    <a:pt x="362" y="120"/>
                    <a:pt x="362" y="120"/>
                  </a:cubicBezTo>
                  <a:cubicBezTo>
                    <a:pt x="376" y="120"/>
                    <a:pt x="376" y="120"/>
                    <a:pt x="376" y="120"/>
                  </a:cubicBezTo>
                  <a:cubicBezTo>
                    <a:pt x="376" y="137"/>
                    <a:pt x="376" y="137"/>
                    <a:pt x="376" y="137"/>
                  </a:cubicBezTo>
                  <a:cubicBezTo>
                    <a:pt x="376" y="157"/>
                    <a:pt x="369" y="167"/>
                    <a:pt x="355" y="167"/>
                  </a:cubicBezTo>
                  <a:cubicBezTo>
                    <a:pt x="340" y="167"/>
                    <a:pt x="333" y="157"/>
                    <a:pt x="333" y="137"/>
                  </a:cubicBezTo>
                  <a:cubicBezTo>
                    <a:pt x="333" y="72"/>
                    <a:pt x="333" y="72"/>
                    <a:pt x="333" y="72"/>
                  </a:cubicBezTo>
                  <a:cubicBezTo>
                    <a:pt x="333" y="53"/>
                    <a:pt x="340" y="43"/>
                    <a:pt x="355" y="43"/>
                  </a:cubicBezTo>
                  <a:cubicBezTo>
                    <a:pt x="369" y="43"/>
                    <a:pt x="376" y="53"/>
                    <a:pt x="376" y="72"/>
                  </a:cubicBezTo>
                  <a:cubicBezTo>
                    <a:pt x="376" y="108"/>
                    <a:pt x="376" y="108"/>
                    <a:pt x="376" y="108"/>
                  </a:cubicBezTo>
                  <a:cubicBezTo>
                    <a:pt x="348" y="108"/>
                    <a:pt x="348" y="108"/>
                    <a:pt x="348" y="108"/>
                  </a:cubicBezTo>
                  <a:cubicBezTo>
                    <a:pt x="348" y="144"/>
                    <a:pt x="348" y="144"/>
                    <a:pt x="348" y="144"/>
                  </a:cubicBezTo>
                  <a:close/>
                  <a:moveTo>
                    <a:pt x="342" y="165"/>
                  </a:moveTo>
                  <a:cubicBezTo>
                    <a:pt x="349" y="165"/>
                    <a:pt x="349" y="165"/>
                    <a:pt x="349" y="165"/>
                  </a:cubicBezTo>
                  <a:cubicBezTo>
                    <a:pt x="349" y="168"/>
                    <a:pt x="349" y="168"/>
                    <a:pt x="349" y="168"/>
                  </a:cubicBezTo>
                  <a:cubicBezTo>
                    <a:pt x="349" y="172"/>
                    <a:pt x="348" y="175"/>
                    <a:pt x="345" y="178"/>
                  </a:cubicBezTo>
                  <a:cubicBezTo>
                    <a:pt x="342" y="180"/>
                    <a:pt x="340" y="183"/>
                    <a:pt x="340" y="187"/>
                  </a:cubicBezTo>
                  <a:cubicBezTo>
                    <a:pt x="340" y="190"/>
                    <a:pt x="342" y="191"/>
                    <a:pt x="344" y="191"/>
                  </a:cubicBezTo>
                  <a:cubicBezTo>
                    <a:pt x="346" y="191"/>
                    <a:pt x="347" y="190"/>
                    <a:pt x="347" y="186"/>
                  </a:cubicBezTo>
                  <a:cubicBezTo>
                    <a:pt x="354" y="186"/>
                    <a:pt x="354" y="186"/>
                    <a:pt x="354" y="186"/>
                  </a:cubicBezTo>
                  <a:cubicBezTo>
                    <a:pt x="355" y="193"/>
                    <a:pt x="351" y="196"/>
                    <a:pt x="344" y="196"/>
                  </a:cubicBezTo>
                  <a:cubicBezTo>
                    <a:pt x="337" y="196"/>
                    <a:pt x="333" y="193"/>
                    <a:pt x="333" y="186"/>
                  </a:cubicBezTo>
                  <a:cubicBezTo>
                    <a:pt x="333" y="182"/>
                    <a:pt x="335" y="178"/>
                    <a:pt x="338" y="176"/>
                  </a:cubicBezTo>
                  <a:cubicBezTo>
                    <a:pt x="340" y="174"/>
                    <a:pt x="342" y="171"/>
                    <a:pt x="342" y="167"/>
                  </a:cubicBezTo>
                  <a:cubicBezTo>
                    <a:pt x="342" y="165"/>
                    <a:pt x="342" y="165"/>
                    <a:pt x="342" y="16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2987677" y="3260340"/>
              <a:ext cx="919163" cy="416719"/>
            </a:xfrm>
            <a:custGeom>
              <a:avLst/>
              <a:gdLst/>
              <a:ahLst/>
              <a:cxnLst>
                <a:cxn ang="0">
                  <a:pos x="21" y="57"/>
                </a:cxn>
                <a:cxn ang="0">
                  <a:pos x="15" y="77"/>
                </a:cxn>
                <a:cxn ang="0">
                  <a:pos x="41" y="136"/>
                </a:cxn>
                <a:cxn ang="0">
                  <a:pos x="0" y="135"/>
                </a:cxn>
                <a:cxn ang="0">
                  <a:pos x="15" y="130"/>
                </a:cxn>
                <a:cxn ang="0">
                  <a:pos x="21" y="153"/>
                </a:cxn>
                <a:cxn ang="0">
                  <a:pos x="27" y="133"/>
                </a:cxn>
                <a:cxn ang="0">
                  <a:pos x="0" y="74"/>
                </a:cxn>
                <a:cxn ang="0">
                  <a:pos x="41" y="74"/>
                </a:cxn>
                <a:cxn ang="0">
                  <a:pos x="26" y="85"/>
                </a:cxn>
                <a:cxn ang="0">
                  <a:pos x="67" y="143"/>
                </a:cxn>
                <a:cxn ang="0">
                  <a:pos x="82" y="143"/>
                </a:cxn>
                <a:cxn ang="0">
                  <a:pos x="96" y="43"/>
                </a:cxn>
                <a:cxn ang="0">
                  <a:pos x="82" y="167"/>
                </a:cxn>
                <a:cxn ang="0">
                  <a:pos x="70" y="167"/>
                </a:cxn>
                <a:cxn ang="0">
                  <a:pos x="53" y="43"/>
                </a:cxn>
                <a:cxn ang="0">
                  <a:pos x="67" y="143"/>
                </a:cxn>
                <a:cxn ang="0">
                  <a:pos x="124" y="0"/>
                </a:cxn>
                <a:cxn ang="0">
                  <a:pos x="128" y="88"/>
                </a:cxn>
                <a:cxn ang="0">
                  <a:pos x="158" y="43"/>
                </a:cxn>
                <a:cxn ang="0">
                  <a:pos x="158" y="167"/>
                </a:cxn>
                <a:cxn ang="0">
                  <a:pos x="128" y="123"/>
                </a:cxn>
                <a:cxn ang="0">
                  <a:pos x="124" y="167"/>
                </a:cxn>
                <a:cxn ang="0">
                  <a:pos x="110" y="0"/>
                </a:cxn>
                <a:cxn ang="0">
                  <a:pos x="193" y="43"/>
                </a:cxn>
                <a:cxn ang="0">
                  <a:pos x="188" y="58"/>
                </a:cxn>
                <a:cxn ang="0">
                  <a:pos x="180" y="167"/>
                </a:cxn>
                <a:cxn ang="0">
                  <a:pos x="166" y="43"/>
                </a:cxn>
                <a:cxn ang="0">
                  <a:pos x="180" y="48"/>
                </a:cxn>
                <a:cxn ang="0">
                  <a:pos x="202" y="23"/>
                </a:cxn>
                <a:cxn ang="0">
                  <a:pos x="216" y="0"/>
                </a:cxn>
                <a:cxn ang="0">
                  <a:pos x="216" y="167"/>
                </a:cxn>
                <a:cxn ang="0">
                  <a:pos x="202" y="43"/>
                </a:cxn>
                <a:cxn ang="0">
                  <a:pos x="216" y="167"/>
                </a:cxn>
                <a:cxn ang="0">
                  <a:pos x="242" y="167"/>
                </a:cxn>
                <a:cxn ang="0">
                  <a:pos x="240" y="43"/>
                </a:cxn>
                <a:cxn ang="0">
                  <a:pos x="249" y="124"/>
                </a:cxn>
                <a:cxn ang="0">
                  <a:pos x="258" y="43"/>
                </a:cxn>
                <a:cxn ang="0">
                  <a:pos x="256" y="167"/>
                </a:cxn>
                <a:cxn ang="0">
                  <a:pos x="227" y="196"/>
                </a:cxn>
                <a:cxn ang="0">
                  <a:pos x="310" y="111"/>
                </a:cxn>
                <a:cxn ang="0">
                  <a:pos x="300" y="118"/>
                </a:cxn>
                <a:cxn ang="0">
                  <a:pos x="295" y="143"/>
                </a:cxn>
                <a:cxn ang="0">
                  <a:pos x="310" y="143"/>
                </a:cxn>
                <a:cxn ang="0">
                  <a:pos x="281" y="128"/>
                </a:cxn>
                <a:cxn ang="0">
                  <a:pos x="302" y="99"/>
                </a:cxn>
                <a:cxn ang="0">
                  <a:pos x="310" y="66"/>
                </a:cxn>
                <a:cxn ang="0">
                  <a:pos x="297" y="66"/>
                </a:cxn>
                <a:cxn ang="0">
                  <a:pos x="282" y="89"/>
                </a:cxn>
                <a:cxn ang="0">
                  <a:pos x="303" y="43"/>
                </a:cxn>
                <a:cxn ang="0">
                  <a:pos x="324" y="167"/>
                </a:cxn>
                <a:cxn ang="0">
                  <a:pos x="310" y="161"/>
                </a:cxn>
                <a:cxn ang="0">
                  <a:pos x="281" y="138"/>
                </a:cxn>
              </a:cxnLst>
              <a:rect l="0" t="0" r="r" b="b"/>
              <a:pathLst>
                <a:path w="324" h="196">
                  <a:moveTo>
                    <a:pt x="26" y="66"/>
                  </a:moveTo>
                  <a:cubicBezTo>
                    <a:pt x="26" y="60"/>
                    <a:pt x="25" y="57"/>
                    <a:pt x="21" y="57"/>
                  </a:cubicBezTo>
                  <a:cubicBezTo>
                    <a:pt x="17" y="57"/>
                    <a:pt x="15" y="60"/>
                    <a:pt x="15" y="66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84"/>
                    <a:pt x="19" y="92"/>
                    <a:pt x="28" y="103"/>
                  </a:cubicBezTo>
                  <a:cubicBezTo>
                    <a:pt x="37" y="115"/>
                    <a:pt x="41" y="125"/>
                    <a:pt x="41" y="136"/>
                  </a:cubicBezTo>
                  <a:cubicBezTo>
                    <a:pt x="41" y="157"/>
                    <a:pt x="35" y="167"/>
                    <a:pt x="21" y="167"/>
                  </a:cubicBezTo>
                  <a:cubicBezTo>
                    <a:pt x="8" y="167"/>
                    <a:pt x="0" y="156"/>
                    <a:pt x="0" y="135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44"/>
                    <a:pt x="15" y="144"/>
                    <a:pt x="15" y="144"/>
                  </a:cubicBezTo>
                  <a:cubicBezTo>
                    <a:pt x="15" y="150"/>
                    <a:pt x="17" y="153"/>
                    <a:pt x="21" y="153"/>
                  </a:cubicBezTo>
                  <a:cubicBezTo>
                    <a:pt x="25" y="153"/>
                    <a:pt x="27" y="150"/>
                    <a:pt x="27" y="144"/>
                  </a:cubicBezTo>
                  <a:cubicBezTo>
                    <a:pt x="27" y="133"/>
                    <a:pt x="27" y="133"/>
                    <a:pt x="27" y="133"/>
                  </a:cubicBezTo>
                  <a:cubicBezTo>
                    <a:pt x="27" y="125"/>
                    <a:pt x="23" y="118"/>
                    <a:pt x="14" y="108"/>
                  </a:cubicBezTo>
                  <a:cubicBezTo>
                    <a:pt x="5" y="98"/>
                    <a:pt x="0" y="87"/>
                    <a:pt x="0" y="74"/>
                  </a:cubicBezTo>
                  <a:cubicBezTo>
                    <a:pt x="0" y="53"/>
                    <a:pt x="7" y="43"/>
                    <a:pt x="21" y="43"/>
                  </a:cubicBezTo>
                  <a:cubicBezTo>
                    <a:pt x="34" y="43"/>
                    <a:pt x="41" y="53"/>
                    <a:pt x="41" y="74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66"/>
                    <a:pt x="26" y="66"/>
                    <a:pt x="26" y="66"/>
                  </a:cubicBezTo>
                  <a:close/>
                  <a:moveTo>
                    <a:pt x="67" y="143"/>
                  </a:moveTo>
                  <a:cubicBezTo>
                    <a:pt x="67" y="149"/>
                    <a:pt x="70" y="152"/>
                    <a:pt x="75" y="152"/>
                  </a:cubicBezTo>
                  <a:cubicBezTo>
                    <a:pt x="80" y="152"/>
                    <a:pt x="82" y="149"/>
                    <a:pt x="82" y="1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6" y="167"/>
                    <a:pt x="96" y="167"/>
                    <a:pt x="96" y="167"/>
                  </a:cubicBezTo>
                  <a:cubicBezTo>
                    <a:pt x="82" y="167"/>
                    <a:pt x="82" y="167"/>
                    <a:pt x="82" y="167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0" y="165"/>
                    <a:pt x="76" y="167"/>
                    <a:pt x="70" y="167"/>
                  </a:cubicBezTo>
                  <a:cubicBezTo>
                    <a:pt x="59" y="167"/>
                    <a:pt x="53" y="157"/>
                    <a:pt x="53" y="138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67" y="43"/>
                    <a:pt x="67" y="43"/>
                    <a:pt x="67" y="43"/>
                  </a:cubicBezTo>
                  <a:lnTo>
                    <a:pt x="67" y="143"/>
                  </a:lnTo>
                  <a:close/>
                  <a:moveTo>
                    <a:pt x="11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00"/>
                    <a:pt x="124" y="100"/>
                    <a:pt x="124" y="100"/>
                  </a:cubicBezTo>
                  <a:cubicBezTo>
                    <a:pt x="128" y="88"/>
                    <a:pt x="128" y="88"/>
                    <a:pt x="128" y="88"/>
                  </a:cubicBezTo>
                  <a:cubicBezTo>
                    <a:pt x="143" y="43"/>
                    <a:pt x="143" y="43"/>
                    <a:pt x="143" y="43"/>
                  </a:cubicBezTo>
                  <a:cubicBezTo>
                    <a:pt x="158" y="43"/>
                    <a:pt x="158" y="43"/>
                    <a:pt x="158" y="4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4" y="110"/>
                    <a:pt x="124" y="110"/>
                    <a:pt x="124" y="110"/>
                  </a:cubicBezTo>
                  <a:cubicBezTo>
                    <a:pt x="124" y="167"/>
                    <a:pt x="124" y="167"/>
                    <a:pt x="124" y="167"/>
                  </a:cubicBezTo>
                  <a:cubicBezTo>
                    <a:pt x="110" y="167"/>
                    <a:pt x="110" y="167"/>
                    <a:pt x="110" y="167"/>
                  </a:cubicBezTo>
                  <a:cubicBezTo>
                    <a:pt x="110" y="0"/>
                    <a:pt x="110" y="0"/>
                    <a:pt x="110" y="0"/>
                  </a:cubicBezTo>
                  <a:close/>
                  <a:moveTo>
                    <a:pt x="180" y="48"/>
                  </a:moveTo>
                  <a:cubicBezTo>
                    <a:pt x="182" y="44"/>
                    <a:pt x="186" y="43"/>
                    <a:pt x="193" y="43"/>
                  </a:cubicBezTo>
                  <a:cubicBezTo>
                    <a:pt x="193" y="61"/>
                    <a:pt x="193" y="61"/>
                    <a:pt x="193" y="61"/>
                  </a:cubicBezTo>
                  <a:cubicBezTo>
                    <a:pt x="191" y="59"/>
                    <a:pt x="190" y="58"/>
                    <a:pt x="188" y="58"/>
                  </a:cubicBezTo>
                  <a:cubicBezTo>
                    <a:pt x="182" y="58"/>
                    <a:pt x="180" y="61"/>
                    <a:pt x="180" y="66"/>
                  </a:cubicBezTo>
                  <a:cubicBezTo>
                    <a:pt x="180" y="167"/>
                    <a:pt x="180" y="167"/>
                    <a:pt x="180" y="167"/>
                  </a:cubicBezTo>
                  <a:cubicBezTo>
                    <a:pt x="166" y="167"/>
                    <a:pt x="166" y="167"/>
                    <a:pt x="166" y="167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80" y="43"/>
                    <a:pt x="180" y="43"/>
                    <a:pt x="180" y="43"/>
                  </a:cubicBezTo>
                  <a:cubicBezTo>
                    <a:pt x="180" y="48"/>
                    <a:pt x="180" y="48"/>
                    <a:pt x="180" y="48"/>
                  </a:cubicBezTo>
                  <a:close/>
                  <a:moveTo>
                    <a:pt x="216" y="23"/>
                  </a:moveTo>
                  <a:cubicBezTo>
                    <a:pt x="202" y="23"/>
                    <a:pt x="202" y="23"/>
                    <a:pt x="202" y="23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6" y="0"/>
                    <a:pt x="216" y="0"/>
                    <a:pt x="216" y="0"/>
                  </a:cubicBezTo>
                  <a:lnTo>
                    <a:pt x="216" y="23"/>
                  </a:lnTo>
                  <a:close/>
                  <a:moveTo>
                    <a:pt x="216" y="167"/>
                  </a:moveTo>
                  <a:cubicBezTo>
                    <a:pt x="202" y="167"/>
                    <a:pt x="202" y="167"/>
                    <a:pt x="202" y="167"/>
                  </a:cubicBezTo>
                  <a:cubicBezTo>
                    <a:pt x="202" y="43"/>
                    <a:pt x="202" y="43"/>
                    <a:pt x="202" y="43"/>
                  </a:cubicBezTo>
                  <a:cubicBezTo>
                    <a:pt x="216" y="43"/>
                    <a:pt x="216" y="43"/>
                    <a:pt x="216" y="43"/>
                  </a:cubicBezTo>
                  <a:lnTo>
                    <a:pt x="216" y="167"/>
                  </a:lnTo>
                  <a:close/>
                  <a:moveTo>
                    <a:pt x="227" y="181"/>
                  </a:moveTo>
                  <a:cubicBezTo>
                    <a:pt x="235" y="180"/>
                    <a:pt x="240" y="176"/>
                    <a:pt x="242" y="167"/>
                  </a:cubicBezTo>
                  <a:cubicBezTo>
                    <a:pt x="225" y="43"/>
                    <a:pt x="225" y="43"/>
                    <a:pt x="225" y="43"/>
                  </a:cubicBezTo>
                  <a:cubicBezTo>
                    <a:pt x="240" y="43"/>
                    <a:pt x="240" y="43"/>
                    <a:pt x="240" y="43"/>
                  </a:cubicBezTo>
                  <a:cubicBezTo>
                    <a:pt x="247" y="98"/>
                    <a:pt x="247" y="98"/>
                    <a:pt x="247" y="98"/>
                  </a:cubicBezTo>
                  <a:cubicBezTo>
                    <a:pt x="249" y="124"/>
                    <a:pt x="249" y="124"/>
                    <a:pt x="249" y="124"/>
                  </a:cubicBezTo>
                  <a:cubicBezTo>
                    <a:pt x="251" y="98"/>
                    <a:pt x="251" y="98"/>
                    <a:pt x="251" y="98"/>
                  </a:cubicBezTo>
                  <a:cubicBezTo>
                    <a:pt x="258" y="43"/>
                    <a:pt x="258" y="43"/>
                    <a:pt x="258" y="43"/>
                  </a:cubicBezTo>
                  <a:cubicBezTo>
                    <a:pt x="273" y="43"/>
                    <a:pt x="273" y="43"/>
                    <a:pt x="273" y="43"/>
                  </a:cubicBezTo>
                  <a:cubicBezTo>
                    <a:pt x="256" y="167"/>
                    <a:pt x="256" y="167"/>
                    <a:pt x="256" y="167"/>
                  </a:cubicBezTo>
                  <a:cubicBezTo>
                    <a:pt x="255" y="177"/>
                    <a:pt x="252" y="184"/>
                    <a:pt x="247" y="189"/>
                  </a:cubicBezTo>
                  <a:cubicBezTo>
                    <a:pt x="241" y="194"/>
                    <a:pt x="235" y="196"/>
                    <a:pt x="227" y="196"/>
                  </a:cubicBezTo>
                  <a:cubicBezTo>
                    <a:pt x="227" y="181"/>
                    <a:pt x="227" y="181"/>
                    <a:pt x="227" y="181"/>
                  </a:cubicBezTo>
                  <a:close/>
                  <a:moveTo>
                    <a:pt x="310" y="111"/>
                  </a:moveTo>
                  <a:cubicBezTo>
                    <a:pt x="308" y="112"/>
                    <a:pt x="306" y="113"/>
                    <a:pt x="304" y="114"/>
                  </a:cubicBezTo>
                  <a:cubicBezTo>
                    <a:pt x="303" y="115"/>
                    <a:pt x="302" y="116"/>
                    <a:pt x="300" y="118"/>
                  </a:cubicBezTo>
                  <a:cubicBezTo>
                    <a:pt x="297" y="120"/>
                    <a:pt x="295" y="124"/>
                    <a:pt x="295" y="130"/>
                  </a:cubicBezTo>
                  <a:cubicBezTo>
                    <a:pt x="295" y="143"/>
                    <a:pt x="295" y="143"/>
                    <a:pt x="295" y="143"/>
                  </a:cubicBezTo>
                  <a:cubicBezTo>
                    <a:pt x="295" y="149"/>
                    <a:pt x="298" y="152"/>
                    <a:pt x="302" y="152"/>
                  </a:cubicBezTo>
                  <a:cubicBezTo>
                    <a:pt x="307" y="152"/>
                    <a:pt x="310" y="149"/>
                    <a:pt x="310" y="143"/>
                  </a:cubicBezTo>
                  <a:lnTo>
                    <a:pt x="310" y="111"/>
                  </a:lnTo>
                  <a:close/>
                  <a:moveTo>
                    <a:pt x="281" y="128"/>
                  </a:moveTo>
                  <a:cubicBezTo>
                    <a:pt x="281" y="119"/>
                    <a:pt x="285" y="111"/>
                    <a:pt x="292" y="106"/>
                  </a:cubicBezTo>
                  <a:cubicBezTo>
                    <a:pt x="296" y="103"/>
                    <a:pt x="299" y="101"/>
                    <a:pt x="302" y="99"/>
                  </a:cubicBezTo>
                  <a:cubicBezTo>
                    <a:pt x="305" y="97"/>
                    <a:pt x="308" y="95"/>
                    <a:pt x="310" y="93"/>
                  </a:cubicBezTo>
                  <a:cubicBezTo>
                    <a:pt x="310" y="66"/>
                    <a:pt x="310" y="66"/>
                    <a:pt x="310" y="66"/>
                  </a:cubicBezTo>
                  <a:cubicBezTo>
                    <a:pt x="310" y="61"/>
                    <a:pt x="308" y="58"/>
                    <a:pt x="303" y="58"/>
                  </a:cubicBezTo>
                  <a:cubicBezTo>
                    <a:pt x="299" y="58"/>
                    <a:pt x="297" y="61"/>
                    <a:pt x="297" y="66"/>
                  </a:cubicBezTo>
                  <a:cubicBezTo>
                    <a:pt x="297" y="89"/>
                    <a:pt x="297" y="89"/>
                    <a:pt x="297" y="89"/>
                  </a:cubicBezTo>
                  <a:cubicBezTo>
                    <a:pt x="282" y="89"/>
                    <a:pt x="282" y="89"/>
                    <a:pt x="282" y="89"/>
                  </a:cubicBezTo>
                  <a:cubicBezTo>
                    <a:pt x="282" y="73"/>
                    <a:pt x="282" y="73"/>
                    <a:pt x="282" y="73"/>
                  </a:cubicBezTo>
                  <a:cubicBezTo>
                    <a:pt x="282" y="53"/>
                    <a:pt x="289" y="43"/>
                    <a:pt x="303" y="43"/>
                  </a:cubicBezTo>
                  <a:cubicBezTo>
                    <a:pt x="317" y="43"/>
                    <a:pt x="324" y="53"/>
                    <a:pt x="324" y="73"/>
                  </a:cubicBezTo>
                  <a:cubicBezTo>
                    <a:pt x="324" y="167"/>
                    <a:pt x="324" y="167"/>
                    <a:pt x="324" y="167"/>
                  </a:cubicBezTo>
                  <a:cubicBezTo>
                    <a:pt x="310" y="167"/>
                    <a:pt x="310" y="167"/>
                    <a:pt x="310" y="167"/>
                  </a:cubicBezTo>
                  <a:cubicBezTo>
                    <a:pt x="310" y="161"/>
                    <a:pt x="310" y="161"/>
                    <a:pt x="310" y="161"/>
                  </a:cubicBezTo>
                  <a:cubicBezTo>
                    <a:pt x="308" y="165"/>
                    <a:pt x="304" y="167"/>
                    <a:pt x="298" y="167"/>
                  </a:cubicBezTo>
                  <a:cubicBezTo>
                    <a:pt x="287" y="167"/>
                    <a:pt x="281" y="157"/>
                    <a:pt x="281" y="138"/>
                  </a:cubicBezTo>
                  <a:cubicBezTo>
                    <a:pt x="281" y="128"/>
                    <a:pt x="281" y="128"/>
                    <a:pt x="281" y="1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 noEditPoints="1"/>
            </p:cNvSpPr>
            <p:nvPr/>
          </p:nvSpPr>
          <p:spPr bwMode="auto">
            <a:xfrm>
              <a:off x="842963" y="2562633"/>
              <a:ext cx="471488" cy="767954"/>
            </a:xfrm>
            <a:custGeom>
              <a:avLst/>
              <a:gdLst/>
              <a:ahLst/>
              <a:cxnLst>
                <a:cxn ang="0">
                  <a:pos x="58" y="340"/>
                </a:cxn>
                <a:cxn ang="0">
                  <a:pos x="143" y="348"/>
                </a:cxn>
                <a:cxn ang="0">
                  <a:pos x="143" y="333"/>
                </a:cxn>
                <a:cxn ang="0">
                  <a:pos x="0" y="362"/>
                </a:cxn>
                <a:cxn ang="0">
                  <a:pos x="48" y="348"/>
                </a:cxn>
                <a:cxn ang="0">
                  <a:pos x="72" y="319"/>
                </a:cxn>
                <a:cxn ang="0">
                  <a:pos x="166" y="338"/>
                </a:cxn>
                <a:cxn ang="0">
                  <a:pos x="166" y="356"/>
                </a:cxn>
                <a:cxn ang="0">
                  <a:pos x="0" y="362"/>
                </a:cxn>
                <a:cxn ang="0">
                  <a:pos x="93" y="276"/>
                </a:cxn>
                <a:cxn ang="0">
                  <a:pos x="58" y="284"/>
                </a:cxn>
                <a:cxn ang="0">
                  <a:pos x="93" y="291"/>
                </a:cxn>
                <a:cxn ang="0">
                  <a:pos x="152" y="284"/>
                </a:cxn>
                <a:cxn ang="0">
                  <a:pos x="119" y="276"/>
                </a:cxn>
                <a:cxn ang="0">
                  <a:pos x="137" y="262"/>
                </a:cxn>
                <a:cxn ang="0">
                  <a:pos x="137" y="305"/>
                </a:cxn>
                <a:cxn ang="0">
                  <a:pos x="43" y="284"/>
                </a:cxn>
                <a:cxn ang="0">
                  <a:pos x="107" y="262"/>
                </a:cxn>
                <a:cxn ang="0">
                  <a:pos x="143" y="291"/>
                </a:cxn>
                <a:cxn ang="0">
                  <a:pos x="152" y="227"/>
                </a:cxn>
                <a:cxn ang="0">
                  <a:pos x="66" y="220"/>
                </a:cxn>
                <a:cxn ang="0">
                  <a:pos x="66" y="234"/>
                </a:cxn>
                <a:cxn ang="0">
                  <a:pos x="166" y="205"/>
                </a:cxn>
                <a:cxn ang="0">
                  <a:pos x="161" y="220"/>
                </a:cxn>
                <a:cxn ang="0">
                  <a:pos x="137" y="249"/>
                </a:cxn>
                <a:cxn ang="0">
                  <a:pos x="43" y="232"/>
                </a:cxn>
                <a:cxn ang="0">
                  <a:pos x="0" y="220"/>
                </a:cxn>
                <a:cxn ang="0">
                  <a:pos x="166" y="205"/>
                </a:cxn>
                <a:cxn ang="0">
                  <a:pos x="114" y="168"/>
                </a:cxn>
                <a:cxn ang="0">
                  <a:pos x="129" y="177"/>
                </a:cxn>
                <a:cxn ang="0">
                  <a:pos x="152" y="171"/>
                </a:cxn>
                <a:cxn ang="0">
                  <a:pos x="111" y="163"/>
                </a:cxn>
                <a:cxn ang="0">
                  <a:pos x="106" y="181"/>
                </a:cxn>
                <a:cxn ang="0">
                  <a:pos x="93" y="163"/>
                </a:cxn>
                <a:cxn ang="0">
                  <a:pos x="58" y="170"/>
                </a:cxn>
                <a:cxn ang="0">
                  <a:pos x="89" y="176"/>
                </a:cxn>
                <a:cxn ang="0">
                  <a:pos x="72" y="190"/>
                </a:cxn>
                <a:cxn ang="0">
                  <a:pos x="72" y="149"/>
                </a:cxn>
                <a:cxn ang="0">
                  <a:pos x="166" y="163"/>
                </a:cxn>
                <a:cxn ang="0">
                  <a:pos x="166" y="175"/>
                </a:cxn>
                <a:cxn ang="0">
                  <a:pos x="128" y="192"/>
                </a:cxn>
                <a:cxn ang="0">
                  <a:pos x="58" y="114"/>
                </a:cxn>
                <a:cxn ang="0">
                  <a:pos x="166" y="121"/>
                </a:cxn>
                <a:cxn ang="0">
                  <a:pos x="43" y="135"/>
                </a:cxn>
                <a:cxn ang="0">
                  <a:pos x="48" y="121"/>
                </a:cxn>
                <a:cxn ang="0">
                  <a:pos x="72" y="92"/>
                </a:cxn>
                <a:cxn ang="0">
                  <a:pos x="166" y="107"/>
                </a:cxn>
                <a:cxn ang="0">
                  <a:pos x="0" y="78"/>
                </a:cxn>
                <a:cxn ang="0">
                  <a:pos x="100" y="64"/>
                </a:cxn>
                <a:cxn ang="0">
                  <a:pos x="43" y="45"/>
                </a:cxn>
                <a:cxn ang="0">
                  <a:pos x="105" y="52"/>
                </a:cxn>
                <a:cxn ang="0">
                  <a:pos x="166" y="46"/>
                </a:cxn>
                <a:cxn ang="0">
                  <a:pos x="110" y="64"/>
                </a:cxn>
                <a:cxn ang="0">
                  <a:pos x="166" y="78"/>
                </a:cxn>
                <a:cxn ang="0">
                  <a:pos x="43" y="28"/>
                </a:cxn>
                <a:cxn ang="0">
                  <a:pos x="0" y="23"/>
                </a:cxn>
                <a:cxn ang="0">
                  <a:pos x="43" y="8"/>
                </a:cxn>
                <a:cxn ang="0">
                  <a:pos x="58" y="2"/>
                </a:cxn>
                <a:cxn ang="0">
                  <a:pos x="143" y="8"/>
                </a:cxn>
                <a:cxn ang="0">
                  <a:pos x="166" y="0"/>
                </a:cxn>
                <a:cxn ang="0">
                  <a:pos x="58" y="23"/>
                </a:cxn>
                <a:cxn ang="0">
                  <a:pos x="43" y="28"/>
                </a:cxn>
              </a:cxnLst>
              <a:rect l="0" t="0" r="r" b="b"/>
              <a:pathLst>
                <a:path w="166" h="362">
                  <a:moveTo>
                    <a:pt x="66" y="333"/>
                  </a:moveTo>
                  <a:cubicBezTo>
                    <a:pt x="60" y="333"/>
                    <a:pt x="58" y="335"/>
                    <a:pt x="58" y="340"/>
                  </a:cubicBezTo>
                  <a:cubicBezTo>
                    <a:pt x="58" y="345"/>
                    <a:pt x="60" y="348"/>
                    <a:pt x="66" y="348"/>
                  </a:cubicBezTo>
                  <a:cubicBezTo>
                    <a:pt x="143" y="348"/>
                    <a:pt x="143" y="348"/>
                    <a:pt x="143" y="348"/>
                  </a:cubicBezTo>
                  <a:cubicBezTo>
                    <a:pt x="149" y="348"/>
                    <a:pt x="152" y="345"/>
                    <a:pt x="152" y="340"/>
                  </a:cubicBezTo>
                  <a:cubicBezTo>
                    <a:pt x="152" y="335"/>
                    <a:pt x="149" y="333"/>
                    <a:pt x="143" y="333"/>
                  </a:cubicBezTo>
                  <a:lnTo>
                    <a:pt x="66" y="333"/>
                  </a:lnTo>
                  <a:close/>
                  <a:moveTo>
                    <a:pt x="0" y="362"/>
                  </a:moveTo>
                  <a:cubicBezTo>
                    <a:pt x="0" y="348"/>
                    <a:pt x="0" y="348"/>
                    <a:pt x="0" y="348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6"/>
                    <a:pt x="43" y="342"/>
                    <a:pt x="43" y="336"/>
                  </a:cubicBezTo>
                  <a:cubicBezTo>
                    <a:pt x="43" y="325"/>
                    <a:pt x="52" y="319"/>
                    <a:pt x="72" y="319"/>
                  </a:cubicBezTo>
                  <a:cubicBezTo>
                    <a:pt x="137" y="319"/>
                    <a:pt x="137" y="319"/>
                    <a:pt x="137" y="319"/>
                  </a:cubicBezTo>
                  <a:cubicBezTo>
                    <a:pt x="157" y="319"/>
                    <a:pt x="166" y="325"/>
                    <a:pt x="166" y="338"/>
                  </a:cubicBezTo>
                  <a:cubicBezTo>
                    <a:pt x="166" y="345"/>
                    <a:pt x="164" y="350"/>
                    <a:pt x="157" y="353"/>
                  </a:cubicBezTo>
                  <a:cubicBezTo>
                    <a:pt x="166" y="356"/>
                    <a:pt x="166" y="356"/>
                    <a:pt x="166" y="356"/>
                  </a:cubicBezTo>
                  <a:cubicBezTo>
                    <a:pt x="166" y="362"/>
                    <a:pt x="166" y="362"/>
                    <a:pt x="166" y="362"/>
                  </a:cubicBezTo>
                  <a:cubicBezTo>
                    <a:pt x="0" y="362"/>
                    <a:pt x="0" y="362"/>
                    <a:pt x="0" y="362"/>
                  </a:cubicBezTo>
                  <a:close/>
                  <a:moveTo>
                    <a:pt x="93" y="291"/>
                  </a:moveTo>
                  <a:cubicBezTo>
                    <a:pt x="93" y="276"/>
                    <a:pt x="93" y="276"/>
                    <a:pt x="93" y="276"/>
                  </a:cubicBezTo>
                  <a:cubicBezTo>
                    <a:pt x="66" y="276"/>
                    <a:pt x="66" y="276"/>
                    <a:pt x="66" y="276"/>
                  </a:cubicBezTo>
                  <a:cubicBezTo>
                    <a:pt x="60" y="276"/>
                    <a:pt x="58" y="279"/>
                    <a:pt x="58" y="284"/>
                  </a:cubicBezTo>
                  <a:cubicBezTo>
                    <a:pt x="58" y="289"/>
                    <a:pt x="60" y="291"/>
                    <a:pt x="66" y="291"/>
                  </a:cubicBezTo>
                  <a:cubicBezTo>
                    <a:pt x="93" y="291"/>
                    <a:pt x="93" y="291"/>
                    <a:pt x="93" y="291"/>
                  </a:cubicBezTo>
                  <a:close/>
                  <a:moveTo>
                    <a:pt x="143" y="291"/>
                  </a:moveTo>
                  <a:cubicBezTo>
                    <a:pt x="149" y="291"/>
                    <a:pt x="152" y="289"/>
                    <a:pt x="152" y="284"/>
                  </a:cubicBezTo>
                  <a:cubicBezTo>
                    <a:pt x="152" y="279"/>
                    <a:pt x="149" y="276"/>
                    <a:pt x="143" y="276"/>
                  </a:cubicBezTo>
                  <a:cubicBezTo>
                    <a:pt x="119" y="276"/>
                    <a:pt x="119" y="276"/>
                    <a:pt x="119" y="276"/>
                  </a:cubicBezTo>
                  <a:cubicBezTo>
                    <a:pt x="119" y="262"/>
                    <a:pt x="119" y="262"/>
                    <a:pt x="119" y="262"/>
                  </a:cubicBezTo>
                  <a:cubicBezTo>
                    <a:pt x="137" y="262"/>
                    <a:pt x="137" y="262"/>
                    <a:pt x="137" y="262"/>
                  </a:cubicBezTo>
                  <a:cubicBezTo>
                    <a:pt x="157" y="262"/>
                    <a:pt x="166" y="270"/>
                    <a:pt x="166" y="284"/>
                  </a:cubicBezTo>
                  <a:cubicBezTo>
                    <a:pt x="166" y="298"/>
                    <a:pt x="157" y="305"/>
                    <a:pt x="137" y="305"/>
                  </a:cubicBezTo>
                  <a:cubicBezTo>
                    <a:pt x="72" y="305"/>
                    <a:pt x="72" y="305"/>
                    <a:pt x="72" y="305"/>
                  </a:cubicBezTo>
                  <a:cubicBezTo>
                    <a:pt x="52" y="305"/>
                    <a:pt x="43" y="298"/>
                    <a:pt x="43" y="284"/>
                  </a:cubicBezTo>
                  <a:cubicBezTo>
                    <a:pt x="43" y="270"/>
                    <a:pt x="52" y="262"/>
                    <a:pt x="72" y="262"/>
                  </a:cubicBezTo>
                  <a:cubicBezTo>
                    <a:pt x="107" y="262"/>
                    <a:pt x="107" y="262"/>
                    <a:pt x="107" y="262"/>
                  </a:cubicBezTo>
                  <a:cubicBezTo>
                    <a:pt x="107" y="291"/>
                    <a:pt x="107" y="291"/>
                    <a:pt x="107" y="291"/>
                  </a:cubicBezTo>
                  <a:cubicBezTo>
                    <a:pt x="143" y="291"/>
                    <a:pt x="143" y="291"/>
                    <a:pt x="143" y="291"/>
                  </a:cubicBezTo>
                  <a:close/>
                  <a:moveTo>
                    <a:pt x="143" y="234"/>
                  </a:moveTo>
                  <a:cubicBezTo>
                    <a:pt x="149" y="234"/>
                    <a:pt x="152" y="232"/>
                    <a:pt x="152" y="227"/>
                  </a:cubicBezTo>
                  <a:cubicBezTo>
                    <a:pt x="152" y="222"/>
                    <a:pt x="149" y="220"/>
                    <a:pt x="143" y="220"/>
                  </a:cubicBezTo>
                  <a:cubicBezTo>
                    <a:pt x="66" y="220"/>
                    <a:pt x="66" y="220"/>
                    <a:pt x="66" y="220"/>
                  </a:cubicBezTo>
                  <a:cubicBezTo>
                    <a:pt x="60" y="220"/>
                    <a:pt x="58" y="222"/>
                    <a:pt x="58" y="227"/>
                  </a:cubicBezTo>
                  <a:cubicBezTo>
                    <a:pt x="58" y="232"/>
                    <a:pt x="60" y="234"/>
                    <a:pt x="66" y="234"/>
                  </a:cubicBezTo>
                  <a:lnTo>
                    <a:pt x="143" y="234"/>
                  </a:lnTo>
                  <a:close/>
                  <a:moveTo>
                    <a:pt x="166" y="205"/>
                  </a:moveTo>
                  <a:cubicBezTo>
                    <a:pt x="166" y="220"/>
                    <a:pt x="166" y="220"/>
                    <a:pt x="166" y="220"/>
                  </a:cubicBezTo>
                  <a:cubicBezTo>
                    <a:pt x="161" y="220"/>
                    <a:pt x="161" y="220"/>
                    <a:pt x="161" y="220"/>
                  </a:cubicBezTo>
                  <a:cubicBezTo>
                    <a:pt x="165" y="223"/>
                    <a:pt x="166" y="228"/>
                    <a:pt x="166" y="232"/>
                  </a:cubicBezTo>
                  <a:cubicBezTo>
                    <a:pt x="166" y="243"/>
                    <a:pt x="157" y="249"/>
                    <a:pt x="137" y="249"/>
                  </a:cubicBezTo>
                  <a:cubicBezTo>
                    <a:pt x="72" y="249"/>
                    <a:pt x="72" y="249"/>
                    <a:pt x="72" y="249"/>
                  </a:cubicBezTo>
                  <a:cubicBezTo>
                    <a:pt x="52" y="249"/>
                    <a:pt x="43" y="243"/>
                    <a:pt x="43" y="232"/>
                  </a:cubicBezTo>
                  <a:cubicBezTo>
                    <a:pt x="43" y="226"/>
                    <a:pt x="44" y="221"/>
                    <a:pt x="48" y="220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05"/>
                    <a:pt x="0" y="205"/>
                    <a:pt x="0" y="205"/>
                  </a:cubicBezTo>
                  <a:lnTo>
                    <a:pt x="166" y="205"/>
                  </a:lnTo>
                  <a:close/>
                  <a:moveTo>
                    <a:pt x="111" y="163"/>
                  </a:moveTo>
                  <a:cubicBezTo>
                    <a:pt x="112" y="165"/>
                    <a:pt x="113" y="167"/>
                    <a:pt x="114" y="168"/>
                  </a:cubicBezTo>
                  <a:cubicBezTo>
                    <a:pt x="115" y="170"/>
                    <a:pt x="116" y="172"/>
                    <a:pt x="118" y="173"/>
                  </a:cubicBezTo>
                  <a:cubicBezTo>
                    <a:pt x="120" y="176"/>
                    <a:pt x="124" y="177"/>
                    <a:pt x="129" y="177"/>
                  </a:cubicBezTo>
                  <a:cubicBezTo>
                    <a:pt x="143" y="177"/>
                    <a:pt x="143" y="177"/>
                    <a:pt x="143" y="177"/>
                  </a:cubicBezTo>
                  <a:cubicBezTo>
                    <a:pt x="149" y="177"/>
                    <a:pt x="152" y="175"/>
                    <a:pt x="152" y="171"/>
                  </a:cubicBezTo>
                  <a:cubicBezTo>
                    <a:pt x="152" y="166"/>
                    <a:pt x="149" y="163"/>
                    <a:pt x="143" y="163"/>
                  </a:cubicBezTo>
                  <a:cubicBezTo>
                    <a:pt x="111" y="163"/>
                    <a:pt x="111" y="163"/>
                    <a:pt x="111" y="163"/>
                  </a:cubicBezTo>
                  <a:close/>
                  <a:moveTo>
                    <a:pt x="128" y="192"/>
                  </a:moveTo>
                  <a:cubicBezTo>
                    <a:pt x="118" y="192"/>
                    <a:pt x="111" y="188"/>
                    <a:pt x="106" y="181"/>
                  </a:cubicBezTo>
                  <a:cubicBezTo>
                    <a:pt x="103" y="177"/>
                    <a:pt x="101" y="174"/>
                    <a:pt x="98" y="171"/>
                  </a:cubicBezTo>
                  <a:cubicBezTo>
                    <a:pt x="96" y="168"/>
                    <a:pt x="94" y="166"/>
                    <a:pt x="93" y="163"/>
                  </a:cubicBezTo>
                  <a:cubicBezTo>
                    <a:pt x="66" y="163"/>
                    <a:pt x="66" y="163"/>
                    <a:pt x="66" y="163"/>
                  </a:cubicBezTo>
                  <a:cubicBezTo>
                    <a:pt x="60" y="163"/>
                    <a:pt x="58" y="166"/>
                    <a:pt x="58" y="170"/>
                  </a:cubicBezTo>
                  <a:cubicBezTo>
                    <a:pt x="58" y="174"/>
                    <a:pt x="60" y="176"/>
                    <a:pt x="66" y="176"/>
                  </a:cubicBezTo>
                  <a:cubicBezTo>
                    <a:pt x="89" y="176"/>
                    <a:pt x="89" y="176"/>
                    <a:pt x="89" y="176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72" y="190"/>
                    <a:pt x="72" y="190"/>
                    <a:pt x="72" y="190"/>
                  </a:cubicBezTo>
                  <a:cubicBezTo>
                    <a:pt x="52" y="190"/>
                    <a:pt x="43" y="184"/>
                    <a:pt x="43" y="170"/>
                  </a:cubicBezTo>
                  <a:cubicBezTo>
                    <a:pt x="43" y="156"/>
                    <a:pt x="52" y="149"/>
                    <a:pt x="72" y="149"/>
                  </a:cubicBezTo>
                  <a:cubicBezTo>
                    <a:pt x="166" y="149"/>
                    <a:pt x="166" y="149"/>
                    <a:pt x="166" y="149"/>
                  </a:cubicBezTo>
                  <a:cubicBezTo>
                    <a:pt x="166" y="163"/>
                    <a:pt x="166" y="163"/>
                    <a:pt x="166" y="163"/>
                  </a:cubicBezTo>
                  <a:cubicBezTo>
                    <a:pt x="161" y="163"/>
                    <a:pt x="161" y="163"/>
                    <a:pt x="161" y="163"/>
                  </a:cubicBezTo>
                  <a:cubicBezTo>
                    <a:pt x="165" y="166"/>
                    <a:pt x="166" y="170"/>
                    <a:pt x="166" y="175"/>
                  </a:cubicBezTo>
                  <a:cubicBezTo>
                    <a:pt x="166" y="186"/>
                    <a:pt x="157" y="192"/>
                    <a:pt x="137" y="192"/>
                  </a:cubicBezTo>
                  <a:cubicBezTo>
                    <a:pt x="128" y="192"/>
                    <a:pt x="128" y="192"/>
                    <a:pt x="128" y="192"/>
                  </a:cubicBezTo>
                  <a:close/>
                  <a:moveTo>
                    <a:pt x="66" y="107"/>
                  </a:moveTo>
                  <a:cubicBezTo>
                    <a:pt x="60" y="107"/>
                    <a:pt x="58" y="109"/>
                    <a:pt x="58" y="114"/>
                  </a:cubicBezTo>
                  <a:cubicBezTo>
                    <a:pt x="58" y="118"/>
                    <a:pt x="60" y="121"/>
                    <a:pt x="66" y="121"/>
                  </a:cubicBezTo>
                  <a:cubicBezTo>
                    <a:pt x="166" y="121"/>
                    <a:pt x="166" y="121"/>
                    <a:pt x="166" y="121"/>
                  </a:cubicBezTo>
                  <a:cubicBezTo>
                    <a:pt x="166" y="135"/>
                    <a:pt x="166" y="135"/>
                    <a:pt x="166" y="135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3" y="121"/>
                    <a:pt x="43" y="121"/>
                    <a:pt x="43" y="121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4" y="120"/>
                    <a:pt x="43" y="116"/>
                    <a:pt x="43" y="109"/>
                  </a:cubicBezTo>
                  <a:cubicBezTo>
                    <a:pt x="43" y="98"/>
                    <a:pt x="52" y="92"/>
                    <a:pt x="72" y="92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66" y="107"/>
                    <a:pt x="166" y="107"/>
                    <a:pt x="166" y="107"/>
                  </a:cubicBezTo>
                  <a:cubicBezTo>
                    <a:pt x="66" y="107"/>
                    <a:pt x="66" y="107"/>
                    <a:pt x="66" y="107"/>
                  </a:cubicBezTo>
                  <a:close/>
                  <a:moveTo>
                    <a:pt x="0" y="78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6" y="46"/>
                    <a:pt x="166" y="46"/>
                    <a:pt x="166" y="46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66" y="64"/>
                    <a:pt x="166" y="64"/>
                    <a:pt x="166" y="64"/>
                  </a:cubicBezTo>
                  <a:cubicBezTo>
                    <a:pt x="166" y="78"/>
                    <a:pt x="166" y="78"/>
                    <a:pt x="166" y="78"/>
                  </a:cubicBezTo>
                  <a:cubicBezTo>
                    <a:pt x="0" y="78"/>
                    <a:pt x="0" y="78"/>
                    <a:pt x="0" y="78"/>
                  </a:cubicBezTo>
                  <a:close/>
                  <a:moveTo>
                    <a:pt x="43" y="28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9" y="8"/>
                    <a:pt x="152" y="5"/>
                    <a:pt x="152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15"/>
                    <a:pt x="157" y="23"/>
                    <a:pt x="137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43" y="28"/>
                    <a:pt x="43" y="28"/>
                    <a:pt x="43" y="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 noEditPoints="1"/>
            </p:cNvSpPr>
            <p:nvPr/>
          </p:nvSpPr>
          <p:spPr bwMode="auto">
            <a:xfrm>
              <a:off x="6767514" y="2753134"/>
              <a:ext cx="1431925" cy="235744"/>
            </a:xfrm>
            <a:custGeom>
              <a:avLst/>
              <a:gdLst/>
              <a:ahLst/>
              <a:cxnLst>
                <a:cxn ang="0">
                  <a:pos x="29" y="111"/>
                </a:cxn>
                <a:cxn ang="0">
                  <a:pos x="10" y="44"/>
                </a:cxn>
                <a:cxn ang="0">
                  <a:pos x="10" y="28"/>
                </a:cxn>
                <a:cxn ang="0">
                  <a:pos x="37" y="28"/>
                </a:cxn>
                <a:cxn ang="0">
                  <a:pos x="38" y="44"/>
                </a:cxn>
                <a:cxn ang="0">
                  <a:pos x="67" y="95"/>
                </a:cxn>
                <a:cxn ang="0">
                  <a:pos x="86" y="91"/>
                </a:cxn>
                <a:cxn ang="0">
                  <a:pos x="72" y="28"/>
                </a:cxn>
                <a:cxn ang="0">
                  <a:pos x="109" y="38"/>
                </a:cxn>
                <a:cxn ang="0">
                  <a:pos x="114" y="95"/>
                </a:cxn>
                <a:cxn ang="0">
                  <a:pos x="109" y="111"/>
                </a:cxn>
                <a:cxn ang="0">
                  <a:pos x="124" y="48"/>
                </a:cxn>
                <a:cxn ang="0">
                  <a:pos x="151" y="44"/>
                </a:cxn>
                <a:cxn ang="0">
                  <a:pos x="132" y="111"/>
                </a:cxn>
                <a:cxn ang="0">
                  <a:pos x="150" y="28"/>
                </a:cxn>
                <a:cxn ang="0">
                  <a:pos x="151" y="44"/>
                </a:cxn>
                <a:cxn ang="0">
                  <a:pos x="179" y="95"/>
                </a:cxn>
                <a:cxn ang="0">
                  <a:pos x="199" y="80"/>
                </a:cxn>
                <a:cxn ang="0">
                  <a:pos x="170" y="48"/>
                </a:cxn>
                <a:cxn ang="0">
                  <a:pos x="189" y="59"/>
                </a:cxn>
                <a:cxn ang="0">
                  <a:pos x="217" y="44"/>
                </a:cxn>
                <a:cxn ang="0">
                  <a:pos x="217" y="0"/>
                </a:cxn>
                <a:cxn ang="0">
                  <a:pos x="236" y="111"/>
                </a:cxn>
                <a:cxn ang="0">
                  <a:pos x="261" y="76"/>
                </a:cxn>
                <a:cxn ang="0">
                  <a:pos x="259" y="101"/>
                </a:cxn>
                <a:cxn ang="0">
                  <a:pos x="253" y="70"/>
                </a:cxn>
                <a:cxn ang="0">
                  <a:pos x="260" y="38"/>
                </a:cxn>
                <a:cxn ang="0">
                  <a:pos x="246" y="48"/>
                </a:cxn>
                <a:cxn ang="0">
                  <a:pos x="264" y="111"/>
                </a:cxn>
                <a:cxn ang="0">
                  <a:pos x="245" y="85"/>
                </a:cxn>
                <a:cxn ang="0">
                  <a:pos x="295" y="58"/>
                </a:cxn>
                <a:cxn ang="0">
                  <a:pos x="315" y="111"/>
                </a:cxn>
                <a:cxn ang="0">
                  <a:pos x="292" y="111"/>
                </a:cxn>
                <a:cxn ang="0">
                  <a:pos x="329" y="0"/>
                </a:cxn>
                <a:cxn ang="0">
                  <a:pos x="352" y="28"/>
                </a:cxn>
                <a:cxn ang="0">
                  <a:pos x="332" y="81"/>
                </a:cxn>
                <a:cxn ang="0">
                  <a:pos x="320" y="0"/>
                </a:cxn>
                <a:cxn ang="0">
                  <a:pos x="372" y="38"/>
                </a:cxn>
                <a:cxn ang="0">
                  <a:pos x="372" y="101"/>
                </a:cxn>
                <a:cxn ang="0">
                  <a:pos x="386" y="91"/>
                </a:cxn>
                <a:cxn ang="0">
                  <a:pos x="372" y="28"/>
                </a:cxn>
                <a:cxn ang="0">
                  <a:pos x="367" y="95"/>
                </a:cxn>
                <a:cxn ang="0">
                  <a:pos x="409" y="38"/>
                </a:cxn>
                <a:cxn ang="0">
                  <a:pos x="395" y="28"/>
                </a:cxn>
                <a:cxn ang="0">
                  <a:pos x="435" y="76"/>
                </a:cxn>
                <a:cxn ang="0">
                  <a:pos x="433" y="101"/>
                </a:cxn>
                <a:cxn ang="0">
                  <a:pos x="427" y="70"/>
                </a:cxn>
                <a:cxn ang="0">
                  <a:pos x="434" y="38"/>
                </a:cxn>
                <a:cxn ang="0">
                  <a:pos x="420" y="48"/>
                </a:cxn>
                <a:cxn ang="0">
                  <a:pos x="438" y="111"/>
                </a:cxn>
                <a:cxn ang="0">
                  <a:pos x="419" y="85"/>
                </a:cxn>
                <a:cxn ang="0">
                  <a:pos x="486" y="111"/>
                </a:cxn>
                <a:cxn ang="0">
                  <a:pos x="467" y="44"/>
                </a:cxn>
                <a:cxn ang="0">
                  <a:pos x="467" y="28"/>
                </a:cxn>
                <a:cxn ang="0">
                  <a:pos x="494" y="28"/>
                </a:cxn>
                <a:cxn ang="0">
                  <a:pos x="495" y="44"/>
                </a:cxn>
              </a:cxnLst>
              <a:rect l="0" t="0" r="r" b="b"/>
              <a:pathLst>
                <a:path w="505" h="111">
                  <a:moveTo>
                    <a:pt x="38" y="44"/>
                  </a:moveTo>
                  <a:cubicBezTo>
                    <a:pt x="38" y="40"/>
                    <a:pt x="37" y="38"/>
                    <a:pt x="34" y="38"/>
                  </a:cubicBezTo>
                  <a:cubicBezTo>
                    <a:pt x="31" y="38"/>
                    <a:pt x="29" y="40"/>
                    <a:pt x="29" y="44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8" y="38"/>
                    <a:pt x="15" y="38"/>
                  </a:cubicBezTo>
                  <a:cubicBezTo>
                    <a:pt x="11" y="38"/>
                    <a:pt x="10" y="40"/>
                    <a:pt x="10" y="44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1" y="29"/>
                    <a:pt x="14" y="28"/>
                    <a:pt x="18" y="28"/>
                  </a:cubicBezTo>
                  <a:cubicBezTo>
                    <a:pt x="22" y="28"/>
                    <a:pt x="24" y="30"/>
                    <a:pt x="27" y="33"/>
                  </a:cubicBezTo>
                  <a:cubicBezTo>
                    <a:pt x="28" y="30"/>
                    <a:pt x="32" y="28"/>
                    <a:pt x="37" y="28"/>
                  </a:cubicBezTo>
                  <a:cubicBezTo>
                    <a:pt x="45" y="28"/>
                    <a:pt x="48" y="35"/>
                    <a:pt x="48" y="48"/>
                  </a:cubicBezTo>
                  <a:cubicBezTo>
                    <a:pt x="48" y="111"/>
                    <a:pt x="48" y="111"/>
                    <a:pt x="48" y="111"/>
                  </a:cubicBezTo>
                  <a:cubicBezTo>
                    <a:pt x="38" y="111"/>
                    <a:pt x="38" y="111"/>
                    <a:pt x="38" y="111"/>
                  </a:cubicBezTo>
                  <a:cubicBezTo>
                    <a:pt x="38" y="44"/>
                    <a:pt x="38" y="44"/>
                    <a:pt x="38" y="44"/>
                  </a:cubicBezTo>
                  <a:close/>
                  <a:moveTo>
                    <a:pt x="77" y="44"/>
                  </a:moveTo>
                  <a:cubicBezTo>
                    <a:pt x="77" y="40"/>
                    <a:pt x="75" y="38"/>
                    <a:pt x="72" y="38"/>
                  </a:cubicBezTo>
                  <a:cubicBezTo>
                    <a:pt x="68" y="38"/>
                    <a:pt x="67" y="40"/>
                    <a:pt x="67" y="44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9"/>
                    <a:pt x="68" y="101"/>
                    <a:pt x="72" y="101"/>
                  </a:cubicBezTo>
                  <a:cubicBezTo>
                    <a:pt x="75" y="101"/>
                    <a:pt x="77" y="99"/>
                    <a:pt x="77" y="95"/>
                  </a:cubicBezTo>
                  <a:lnTo>
                    <a:pt x="77" y="44"/>
                  </a:lnTo>
                  <a:close/>
                  <a:moveTo>
                    <a:pt x="86" y="91"/>
                  </a:moveTo>
                  <a:cubicBezTo>
                    <a:pt x="86" y="104"/>
                    <a:pt x="81" y="111"/>
                    <a:pt x="72" y="111"/>
                  </a:cubicBezTo>
                  <a:cubicBezTo>
                    <a:pt x="62" y="111"/>
                    <a:pt x="57" y="104"/>
                    <a:pt x="57" y="91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35"/>
                    <a:pt x="62" y="28"/>
                    <a:pt x="72" y="28"/>
                  </a:cubicBezTo>
                  <a:cubicBezTo>
                    <a:pt x="81" y="28"/>
                    <a:pt x="86" y="35"/>
                    <a:pt x="86" y="48"/>
                  </a:cubicBezTo>
                  <a:lnTo>
                    <a:pt x="86" y="91"/>
                  </a:lnTo>
                  <a:close/>
                  <a:moveTo>
                    <a:pt x="114" y="44"/>
                  </a:moveTo>
                  <a:cubicBezTo>
                    <a:pt x="114" y="40"/>
                    <a:pt x="113" y="38"/>
                    <a:pt x="109" y="38"/>
                  </a:cubicBezTo>
                  <a:cubicBezTo>
                    <a:pt x="106" y="38"/>
                    <a:pt x="105" y="40"/>
                    <a:pt x="105" y="44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5" y="99"/>
                    <a:pt x="106" y="101"/>
                    <a:pt x="109" y="101"/>
                  </a:cubicBezTo>
                  <a:cubicBezTo>
                    <a:pt x="113" y="101"/>
                    <a:pt x="114" y="99"/>
                    <a:pt x="114" y="95"/>
                  </a:cubicBezTo>
                  <a:cubicBezTo>
                    <a:pt x="114" y="80"/>
                    <a:pt x="114" y="80"/>
                    <a:pt x="114" y="80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104"/>
                    <a:pt x="119" y="111"/>
                    <a:pt x="109" y="111"/>
                  </a:cubicBezTo>
                  <a:cubicBezTo>
                    <a:pt x="100" y="111"/>
                    <a:pt x="95" y="104"/>
                    <a:pt x="95" y="91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35"/>
                    <a:pt x="100" y="28"/>
                    <a:pt x="109" y="28"/>
                  </a:cubicBezTo>
                  <a:cubicBezTo>
                    <a:pt x="119" y="28"/>
                    <a:pt x="124" y="35"/>
                    <a:pt x="124" y="48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14" y="59"/>
                    <a:pt x="114" y="59"/>
                    <a:pt x="114" y="59"/>
                  </a:cubicBezTo>
                  <a:lnTo>
                    <a:pt x="114" y="44"/>
                  </a:lnTo>
                  <a:close/>
                  <a:moveTo>
                    <a:pt x="151" y="44"/>
                  </a:moveTo>
                  <a:cubicBezTo>
                    <a:pt x="151" y="40"/>
                    <a:pt x="150" y="38"/>
                    <a:pt x="147" y="38"/>
                  </a:cubicBezTo>
                  <a:cubicBezTo>
                    <a:pt x="143" y="38"/>
                    <a:pt x="142" y="40"/>
                    <a:pt x="142" y="4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32" y="111"/>
                    <a:pt x="132" y="111"/>
                    <a:pt x="132" y="111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3" y="29"/>
                    <a:pt x="146" y="28"/>
                    <a:pt x="150" y="28"/>
                  </a:cubicBezTo>
                  <a:cubicBezTo>
                    <a:pt x="158" y="28"/>
                    <a:pt x="161" y="35"/>
                    <a:pt x="161" y="48"/>
                  </a:cubicBezTo>
                  <a:cubicBezTo>
                    <a:pt x="161" y="111"/>
                    <a:pt x="161" y="111"/>
                    <a:pt x="161" y="111"/>
                  </a:cubicBezTo>
                  <a:cubicBezTo>
                    <a:pt x="151" y="111"/>
                    <a:pt x="151" y="111"/>
                    <a:pt x="151" y="111"/>
                  </a:cubicBezTo>
                  <a:cubicBezTo>
                    <a:pt x="151" y="44"/>
                    <a:pt x="151" y="44"/>
                    <a:pt x="151" y="44"/>
                  </a:cubicBezTo>
                  <a:close/>
                  <a:moveTo>
                    <a:pt x="189" y="44"/>
                  </a:moveTo>
                  <a:cubicBezTo>
                    <a:pt x="189" y="40"/>
                    <a:pt x="188" y="38"/>
                    <a:pt x="185" y="38"/>
                  </a:cubicBezTo>
                  <a:cubicBezTo>
                    <a:pt x="181" y="38"/>
                    <a:pt x="179" y="40"/>
                    <a:pt x="179" y="44"/>
                  </a:cubicBezTo>
                  <a:cubicBezTo>
                    <a:pt x="179" y="95"/>
                    <a:pt x="179" y="95"/>
                    <a:pt x="179" y="95"/>
                  </a:cubicBezTo>
                  <a:cubicBezTo>
                    <a:pt x="179" y="99"/>
                    <a:pt x="181" y="101"/>
                    <a:pt x="185" y="101"/>
                  </a:cubicBezTo>
                  <a:cubicBezTo>
                    <a:pt x="188" y="101"/>
                    <a:pt x="189" y="99"/>
                    <a:pt x="189" y="95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99" y="80"/>
                    <a:pt x="199" y="80"/>
                    <a:pt x="199" y="80"/>
                  </a:cubicBezTo>
                  <a:cubicBezTo>
                    <a:pt x="199" y="91"/>
                    <a:pt x="199" y="91"/>
                    <a:pt x="199" y="91"/>
                  </a:cubicBezTo>
                  <a:cubicBezTo>
                    <a:pt x="199" y="104"/>
                    <a:pt x="194" y="111"/>
                    <a:pt x="185" y="111"/>
                  </a:cubicBezTo>
                  <a:cubicBezTo>
                    <a:pt x="175" y="111"/>
                    <a:pt x="170" y="104"/>
                    <a:pt x="170" y="91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70" y="35"/>
                    <a:pt x="175" y="28"/>
                    <a:pt x="185" y="28"/>
                  </a:cubicBezTo>
                  <a:cubicBezTo>
                    <a:pt x="194" y="28"/>
                    <a:pt x="199" y="35"/>
                    <a:pt x="199" y="48"/>
                  </a:cubicBezTo>
                  <a:cubicBezTo>
                    <a:pt x="199" y="59"/>
                    <a:pt x="199" y="59"/>
                    <a:pt x="199" y="59"/>
                  </a:cubicBezTo>
                  <a:cubicBezTo>
                    <a:pt x="189" y="59"/>
                    <a:pt x="189" y="59"/>
                    <a:pt x="189" y="59"/>
                  </a:cubicBezTo>
                  <a:lnTo>
                    <a:pt x="189" y="44"/>
                  </a:lnTo>
                  <a:close/>
                  <a:moveTo>
                    <a:pt x="227" y="44"/>
                  </a:moveTo>
                  <a:cubicBezTo>
                    <a:pt x="227" y="40"/>
                    <a:pt x="225" y="38"/>
                    <a:pt x="222" y="38"/>
                  </a:cubicBezTo>
                  <a:cubicBezTo>
                    <a:pt x="218" y="38"/>
                    <a:pt x="217" y="40"/>
                    <a:pt x="217" y="44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8" y="29"/>
                    <a:pt x="220" y="28"/>
                    <a:pt x="225" y="28"/>
                  </a:cubicBezTo>
                  <a:cubicBezTo>
                    <a:pt x="232" y="28"/>
                    <a:pt x="236" y="35"/>
                    <a:pt x="236" y="48"/>
                  </a:cubicBezTo>
                  <a:cubicBezTo>
                    <a:pt x="236" y="111"/>
                    <a:pt x="236" y="111"/>
                    <a:pt x="236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44"/>
                    <a:pt x="227" y="44"/>
                    <a:pt x="227" y="44"/>
                  </a:cubicBezTo>
                  <a:close/>
                  <a:moveTo>
                    <a:pt x="264" y="74"/>
                  </a:moveTo>
                  <a:cubicBezTo>
                    <a:pt x="263" y="74"/>
                    <a:pt x="261" y="75"/>
                    <a:pt x="261" y="76"/>
                  </a:cubicBezTo>
                  <a:cubicBezTo>
                    <a:pt x="260" y="77"/>
                    <a:pt x="259" y="77"/>
                    <a:pt x="258" y="78"/>
                  </a:cubicBezTo>
                  <a:cubicBezTo>
                    <a:pt x="256" y="80"/>
                    <a:pt x="255" y="82"/>
                    <a:pt x="255" y="86"/>
                  </a:cubicBezTo>
                  <a:cubicBezTo>
                    <a:pt x="255" y="95"/>
                    <a:pt x="255" y="95"/>
                    <a:pt x="255" y="95"/>
                  </a:cubicBezTo>
                  <a:cubicBezTo>
                    <a:pt x="255" y="99"/>
                    <a:pt x="256" y="101"/>
                    <a:pt x="259" y="101"/>
                  </a:cubicBezTo>
                  <a:cubicBezTo>
                    <a:pt x="263" y="101"/>
                    <a:pt x="264" y="99"/>
                    <a:pt x="264" y="95"/>
                  </a:cubicBezTo>
                  <a:lnTo>
                    <a:pt x="264" y="74"/>
                  </a:lnTo>
                  <a:close/>
                  <a:moveTo>
                    <a:pt x="245" y="85"/>
                  </a:moveTo>
                  <a:cubicBezTo>
                    <a:pt x="245" y="78"/>
                    <a:pt x="247" y="74"/>
                    <a:pt x="253" y="70"/>
                  </a:cubicBezTo>
                  <a:cubicBezTo>
                    <a:pt x="255" y="68"/>
                    <a:pt x="257" y="67"/>
                    <a:pt x="259" y="65"/>
                  </a:cubicBezTo>
                  <a:cubicBezTo>
                    <a:pt x="261" y="64"/>
                    <a:pt x="263" y="63"/>
                    <a:pt x="264" y="62"/>
                  </a:cubicBezTo>
                  <a:cubicBezTo>
                    <a:pt x="264" y="44"/>
                    <a:pt x="264" y="44"/>
                    <a:pt x="264" y="44"/>
                  </a:cubicBezTo>
                  <a:cubicBezTo>
                    <a:pt x="264" y="40"/>
                    <a:pt x="263" y="38"/>
                    <a:pt x="260" y="38"/>
                  </a:cubicBezTo>
                  <a:cubicBezTo>
                    <a:pt x="257" y="38"/>
                    <a:pt x="256" y="40"/>
                    <a:pt x="256" y="44"/>
                  </a:cubicBezTo>
                  <a:cubicBezTo>
                    <a:pt x="256" y="59"/>
                    <a:pt x="256" y="59"/>
                    <a:pt x="256" y="59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6" y="48"/>
                    <a:pt x="246" y="48"/>
                    <a:pt x="246" y="48"/>
                  </a:cubicBezTo>
                  <a:cubicBezTo>
                    <a:pt x="246" y="35"/>
                    <a:pt x="251" y="28"/>
                    <a:pt x="260" y="28"/>
                  </a:cubicBezTo>
                  <a:cubicBezTo>
                    <a:pt x="269" y="28"/>
                    <a:pt x="274" y="35"/>
                    <a:pt x="274" y="48"/>
                  </a:cubicBezTo>
                  <a:cubicBezTo>
                    <a:pt x="274" y="111"/>
                    <a:pt x="274" y="111"/>
                    <a:pt x="274" y="111"/>
                  </a:cubicBezTo>
                  <a:cubicBezTo>
                    <a:pt x="264" y="111"/>
                    <a:pt x="264" y="111"/>
                    <a:pt x="264" y="111"/>
                  </a:cubicBezTo>
                  <a:cubicBezTo>
                    <a:pt x="264" y="107"/>
                    <a:pt x="264" y="107"/>
                    <a:pt x="264" y="107"/>
                  </a:cubicBezTo>
                  <a:cubicBezTo>
                    <a:pt x="263" y="109"/>
                    <a:pt x="260" y="111"/>
                    <a:pt x="256" y="111"/>
                  </a:cubicBezTo>
                  <a:cubicBezTo>
                    <a:pt x="249" y="111"/>
                    <a:pt x="245" y="104"/>
                    <a:pt x="245" y="91"/>
                  </a:cubicBezTo>
                  <a:cubicBezTo>
                    <a:pt x="245" y="85"/>
                    <a:pt x="245" y="85"/>
                    <a:pt x="245" y="85"/>
                  </a:cubicBezTo>
                  <a:close/>
                  <a:moveTo>
                    <a:pt x="283" y="0"/>
                  </a:moveTo>
                  <a:cubicBezTo>
                    <a:pt x="292" y="0"/>
                    <a:pt x="292" y="0"/>
                    <a:pt x="292" y="0"/>
                  </a:cubicBezTo>
                  <a:cubicBezTo>
                    <a:pt x="292" y="67"/>
                    <a:pt x="292" y="67"/>
                    <a:pt x="292" y="67"/>
                  </a:cubicBezTo>
                  <a:cubicBezTo>
                    <a:pt x="295" y="58"/>
                    <a:pt x="295" y="58"/>
                    <a:pt x="295" y="58"/>
                  </a:cubicBezTo>
                  <a:cubicBezTo>
                    <a:pt x="305" y="28"/>
                    <a:pt x="305" y="28"/>
                    <a:pt x="305" y="28"/>
                  </a:cubicBezTo>
                  <a:cubicBezTo>
                    <a:pt x="315" y="28"/>
                    <a:pt x="315" y="28"/>
                    <a:pt x="315" y="28"/>
                  </a:cubicBezTo>
                  <a:cubicBezTo>
                    <a:pt x="300" y="70"/>
                    <a:pt x="300" y="70"/>
                    <a:pt x="300" y="70"/>
                  </a:cubicBezTo>
                  <a:cubicBezTo>
                    <a:pt x="315" y="111"/>
                    <a:pt x="315" y="111"/>
                    <a:pt x="315" y="111"/>
                  </a:cubicBezTo>
                  <a:cubicBezTo>
                    <a:pt x="305" y="111"/>
                    <a:pt x="305" y="111"/>
                    <a:pt x="305" y="111"/>
                  </a:cubicBezTo>
                  <a:cubicBezTo>
                    <a:pt x="295" y="81"/>
                    <a:pt x="295" y="81"/>
                    <a:pt x="295" y="81"/>
                  </a:cubicBezTo>
                  <a:cubicBezTo>
                    <a:pt x="292" y="73"/>
                    <a:pt x="292" y="73"/>
                    <a:pt x="292" y="73"/>
                  </a:cubicBezTo>
                  <a:cubicBezTo>
                    <a:pt x="292" y="111"/>
                    <a:pt x="292" y="111"/>
                    <a:pt x="292" y="111"/>
                  </a:cubicBezTo>
                  <a:cubicBezTo>
                    <a:pt x="283" y="111"/>
                    <a:pt x="283" y="111"/>
                    <a:pt x="283" y="111"/>
                  </a:cubicBezTo>
                  <a:lnTo>
                    <a:pt x="283" y="0"/>
                  </a:lnTo>
                  <a:close/>
                  <a:moveTo>
                    <a:pt x="320" y="0"/>
                  </a:moveTo>
                  <a:cubicBezTo>
                    <a:pt x="329" y="0"/>
                    <a:pt x="329" y="0"/>
                    <a:pt x="329" y="0"/>
                  </a:cubicBezTo>
                  <a:cubicBezTo>
                    <a:pt x="329" y="67"/>
                    <a:pt x="329" y="67"/>
                    <a:pt x="329" y="67"/>
                  </a:cubicBezTo>
                  <a:cubicBezTo>
                    <a:pt x="332" y="58"/>
                    <a:pt x="332" y="58"/>
                    <a:pt x="332" y="58"/>
                  </a:cubicBezTo>
                  <a:cubicBezTo>
                    <a:pt x="342" y="28"/>
                    <a:pt x="342" y="28"/>
                    <a:pt x="342" y="28"/>
                  </a:cubicBezTo>
                  <a:cubicBezTo>
                    <a:pt x="352" y="28"/>
                    <a:pt x="352" y="28"/>
                    <a:pt x="352" y="28"/>
                  </a:cubicBezTo>
                  <a:cubicBezTo>
                    <a:pt x="338" y="70"/>
                    <a:pt x="338" y="70"/>
                    <a:pt x="338" y="70"/>
                  </a:cubicBezTo>
                  <a:cubicBezTo>
                    <a:pt x="352" y="111"/>
                    <a:pt x="352" y="111"/>
                    <a:pt x="352" y="111"/>
                  </a:cubicBezTo>
                  <a:cubicBezTo>
                    <a:pt x="342" y="111"/>
                    <a:pt x="342" y="111"/>
                    <a:pt x="342" y="111"/>
                  </a:cubicBezTo>
                  <a:cubicBezTo>
                    <a:pt x="332" y="81"/>
                    <a:pt x="332" y="81"/>
                    <a:pt x="332" y="81"/>
                  </a:cubicBezTo>
                  <a:cubicBezTo>
                    <a:pt x="329" y="73"/>
                    <a:pt x="329" y="73"/>
                    <a:pt x="329" y="73"/>
                  </a:cubicBezTo>
                  <a:cubicBezTo>
                    <a:pt x="329" y="111"/>
                    <a:pt x="329" y="111"/>
                    <a:pt x="329" y="111"/>
                  </a:cubicBezTo>
                  <a:cubicBezTo>
                    <a:pt x="320" y="111"/>
                    <a:pt x="320" y="111"/>
                    <a:pt x="320" y="111"/>
                  </a:cubicBezTo>
                  <a:lnTo>
                    <a:pt x="320" y="0"/>
                  </a:lnTo>
                  <a:close/>
                  <a:moveTo>
                    <a:pt x="367" y="62"/>
                  </a:moveTo>
                  <a:cubicBezTo>
                    <a:pt x="377" y="62"/>
                    <a:pt x="377" y="62"/>
                    <a:pt x="377" y="62"/>
                  </a:cubicBezTo>
                  <a:cubicBezTo>
                    <a:pt x="377" y="44"/>
                    <a:pt x="377" y="44"/>
                    <a:pt x="377" y="44"/>
                  </a:cubicBezTo>
                  <a:cubicBezTo>
                    <a:pt x="377" y="40"/>
                    <a:pt x="375" y="38"/>
                    <a:pt x="372" y="38"/>
                  </a:cubicBezTo>
                  <a:cubicBezTo>
                    <a:pt x="368" y="38"/>
                    <a:pt x="367" y="40"/>
                    <a:pt x="367" y="44"/>
                  </a:cubicBezTo>
                  <a:cubicBezTo>
                    <a:pt x="367" y="62"/>
                    <a:pt x="367" y="62"/>
                    <a:pt x="367" y="62"/>
                  </a:cubicBezTo>
                  <a:close/>
                  <a:moveTo>
                    <a:pt x="367" y="95"/>
                  </a:moveTo>
                  <a:cubicBezTo>
                    <a:pt x="367" y="99"/>
                    <a:pt x="368" y="101"/>
                    <a:pt x="372" y="101"/>
                  </a:cubicBezTo>
                  <a:cubicBezTo>
                    <a:pt x="375" y="101"/>
                    <a:pt x="377" y="99"/>
                    <a:pt x="377" y="95"/>
                  </a:cubicBezTo>
                  <a:cubicBezTo>
                    <a:pt x="377" y="80"/>
                    <a:pt x="377" y="80"/>
                    <a:pt x="377" y="80"/>
                  </a:cubicBezTo>
                  <a:cubicBezTo>
                    <a:pt x="386" y="80"/>
                    <a:pt x="386" y="80"/>
                    <a:pt x="386" y="80"/>
                  </a:cubicBezTo>
                  <a:cubicBezTo>
                    <a:pt x="386" y="91"/>
                    <a:pt x="386" y="91"/>
                    <a:pt x="386" y="91"/>
                  </a:cubicBezTo>
                  <a:cubicBezTo>
                    <a:pt x="386" y="104"/>
                    <a:pt x="381" y="111"/>
                    <a:pt x="372" y="111"/>
                  </a:cubicBezTo>
                  <a:cubicBezTo>
                    <a:pt x="362" y="111"/>
                    <a:pt x="357" y="104"/>
                    <a:pt x="357" y="91"/>
                  </a:cubicBezTo>
                  <a:cubicBezTo>
                    <a:pt x="357" y="48"/>
                    <a:pt x="357" y="48"/>
                    <a:pt x="357" y="48"/>
                  </a:cubicBezTo>
                  <a:cubicBezTo>
                    <a:pt x="357" y="35"/>
                    <a:pt x="362" y="28"/>
                    <a:pt x="372" y="28"/>
                  </a:cubicBezTo>
                  <a:cubicBezTo>
                    <a:pt x="381" y="28"/>
                    <a:pt x="386" y="35"/>
                    <a:pt x="386" y="48"/>
                  </a:cubicBezTo>
                  <a:cubicBezTo>
                    <a:pt x="386" y="71"/>
                    <a:pt x="386" y="71"/>
                    <a:pt x="386" y="71"/>
                  </a:cubicBezTo>
                  <a:cubicBezTo>
                    <a:pt x="367" y="71"/>
                    <a:pt x="367" y="71"/>
                    <a:pt x="367" y="71"/>
                  </a:cubicBezTo>
                  <a:cubicBezTo>
                    <a:pt x="367" y="95"/>
                    <a:pt x="367" y="95"/>
                    <a:pt x="367" y="95"/>
                  </a:cubicBezTo>
                  <a:close/>
                  <a:moveTo>
                    <a:pt x="405" y="32"/>
                  </a:moveTo>
                  <a:cubicBezTo>
                    <a:pt x="406" y="29"/>
                    <a:pt x="409" y="28"/>
                    <a:pt x="413" y="28"/>
                  </a:cubicBezTo>
                  <a:cubicBezTo>
                    <a:pt x="413" y="40"/>
                    <a:pt x="413" y="40"/>
                    <a:pt x="413" y="40"/>
                  </a:cubicBezTo>
                  <a:cubicBezTo>
                    <a:pt x="412" y="39"/>
                    <a:pt x="411" y="38"/>
                    <a:pt x="409" y="38"/>
                  </a:cubicBezTo>
                  <a:cubicBezTo>
                    <a:pt x="406" y="38"/>
                    <a:pt x="405" y="40"/>
                    <a:pt x="405" y="44"/>
                  </a:cubicBezTo>
                  <a:cubicBezTo>
                    <a:pt x="405" y="111"/>
                    <a:pt x="405" y="111"/>
                    <a:pt x="405" y="111"/>
                  </a:cubicBezTo>
                  <a:cubicBezTo>
                    <a:pt x="395" y="111"/>
                    <a:pt x="395" y="111"/>
                    <a:pt x="395" y="111"/>
                  </a:cubicBezTo>
                  <a:cubicBezTo>
                    <a:pt x="395" y="28"/>
                    <a:pt x="395" y="28"/>
                    <a:pt x="395" y="28"/>
                  </a:cubicBezTo>
                  <a:cubicBezTo>
                    <a:pt x="405" y="28"/>
                    <a:pt x="405" y="28"/>
                    <a:pt x="405" y="28"/>
                  </a:cubicBezTo>
                  <a:cubicBezTo>
                    <a:pt x="405" y="32"/>
                    <a:pt x="405" y="32"/>
                    <a:pt x="405" y="32"/>
                  </a:cubicBezTo>
                  <a:close/>
                  <a:moveTo>
                    <a:pt x="438" y="74"/>
                  </a:moveTo>
                  <a:cubicBezTo>
                    <a:pt x="437" y="74"/>
                    <a:pt x="436" y="75"/>
                    <a:pt x="435" y="76"/>
                  </a:cubicBezTo>
                  <a:cubicBezTo>
                    <a:pt x="434" y="77"/>
                    <a:pt x="433" y="77"/>
                    <a:pt x="432" y="78"/>
                  </a:cubicBezTo>
                  <a:cubicBezTo>
                    <a:pt x="430" y="80"/>
                    <a:pt x="429" y="82"/>
                    <a:pt x="429" y="86"/>
                  </a:cubicBezTo>
                  <a:cubicBezTo>
                    <a:pt x="429" y="95"/>
                    <a:pt x="429" y="95"/>
                    <a:pt x="429" y="95"/>
                  </a:cubicBezTo>
                  <a:cubicBezTo>
                    <a:pt x="429" y="99"/>
                    <a:pt x="430" y="101"/>
                    <a:pt x="433" y="101"/>
                  </a:cubicBezTo>
                  <a:cubicBezTo>
                    <a:pt x="437" y="101"/>
                    <a:pt x="438" y="99"/>
                    <a:pt x="438" y="95"/>
                  </a:cubicBezTo>
                  <a:lnTo>
                    <a:pt x="438" y="74"/>
                  </a:lnTo>
                  <a:close/>
                  <a:moveTo>
                    <a:pt x="419" y="85"/>
                  </a:moveTo>
                  <a:cubicBezTo>
                    <a:pt x="419" y="78"/>
                    <a:pt x="422" y="74"/>
                    <a:pt x="427" y="70"/>
                  </a:cubicBezTo>
                  <a:cubicBezTo>
                    <a:pt x="429" y="68"/>
                    <a:pt x="431" y="67"/>
                    <a:pt x="433" y="65"/>
                  </a:cubicBezTo>
                  <a:cubicBezTo>
                    <a:pt x="435" y="64"/>
                    <a:pt x="437" y="63"/>
                    <a:pt x="438" y="62"/>
                  </a:cubicBezTo>
                  <a:cubicBezTo>
                    <a:pt x="438" y="44"/>
                    <a:pt x="438" y="44"/>
                    <a:pt x="438" y="44"/>
                  </a:cubicBezTo>
                  <a:cubicBezTo>
                    <a:pt x="438" y="40"/>
                    <a:pt x="437" y="38"/>
                    <a:pt x="434" y="38"/>
                  </a:cubicBezTo>
                  <a:cubicBezTo>
                    <a:pt x="431" y="38"/>
                    <a:pt x="430" y="40"/>
                    <a:pt x="430" y="44"/>
                  </a:cubicBezTo>
                  <a:cubicBezTo>
                    <a:pt x="430" y="59"/>
                    <a:pt x="430" y="59"/>
                    <a:pt x="430" y="59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0" y="48"/>
                    <a:pt x="420" y="48"/>
                    <a:pt x="420" y="48"/>
                  </a:cubicBezTo>
                  <a:cubicBezTo>
                    <a:pt x="420" y="35"/>
                    <a:pt x="425" y="28"/>
                    <a:pt x="434" y="28"/>
                  </a:cubicBezTo>
                  <a:cubicBezTo>
                    <a:pt x="444" y="28"/>
                    <a:pt x="448" y="35"/>
                    <a:pt x="448" y="48"/>
                  </a:cubicBezTo>
                  <a:cubicBezTo>
                    <a:pt x="448" y="111"/>
                    <a:pt x="448" y="111"/>
                    <a:pt x="448" y="111"/>
                  </a:cubicBezTo>
                  <a:cubicBezTo>
                    <a:pt x="438" y="111"/>
                    <a:pt x="438" y="111"/>
                    <a:pt x="438" y="111"/>
                  </a:cubicBezTo>
                  <a:cubicBezTo>
                    <a:pt x="438" y="107"/>
                    <a:pt x="438" y="107"/>
                    <a:pt x="438" y="107"/>
                  </a:cubicBezTo>
                  <a:cubicBezTo>
                    <a:pt x="437" y="109"/>
                    <a:pt x="434" y="111"/>
                    <a:pt x="431" y="111"/>
                  </a:cubicBezTo>
                  <a:cubicBezTo>
                    <a:pt x="423" y="111"/>
                    <a:pt x="419" y="104"/>
                    <a:pt x="419" y="91"/>
                  </a:cubicBezTo>
                  <a:cubicBezTo>
                    <a:pt x="419" y="85"/>
                    <a:pt x="419" y="85"/>
                    <a:pt x="419" y="85"/>
                  </a:cubicBezTo>
                  <a:close/>
                  <a:moveTo>
                    <a:pt x="495" y="44"/>
                  </a:moveTo>
                  <a:cubicBezTo>
                    <a:pt x="495" y="40"/>
                    <a:pt x="494" y="38"/>
                    <a:pt x="491" y="38"/>
                  </a:cubicBezTo>
                  <a:cubicBezTo>
                    <a:pt x="487" y="38"/>
                    <a:pt x="486" y="40"/>
                    <a:pt x="486" y="44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76" y="111"/>
                    <a:pt x="476" y="111"/>
                    <a:pt x="476" y="111"/>
                  </a:cubicBezTo>
                  <a:cubicBezTo>
                    <a:pt x="476" y="44"/>
                    <a:pt x="476" y="44"/>
                    <a:pt x="476" y="44"/>
                  </a:cubicBezTo>
                  <a:cubicBezTo>
                    <a:pt x="476" y="40"/>
                    <a:pt x="474" y="38"/>
                    <a:pt x="471" y="38"/>
                  </a:cubicBezTo>
                  <a:cubicBezTo>
                    <a:pt x="468" y="38"/>
                    <a:pt x="467" y="40"/>
                    <a:pt x="467" y="44"/>
                  </a:cubicBezTo>
                  <a:cubicBezTo>
                    <a:pt x="467" y="111"/>
                    <a:pt x="467" y="111"/>
                    <a:pt x="467" y="111"/>
                  </a:cubicBezTo>
                  <a:cubicBezTo>
                    <a:pt x="457" y="111"/>
                    <a:pt x="457" y="111"/>
                    <a:pt x="457" y="111"/>
                  </a:cubicBezTo>
                  <a:cubicBezTo>
                    <a:pt x="457" y="28"/>
                    <a:pt x="457" y="28"/>
                    <a:pt x="457" y="28"/>
                  </a:cubicBezTo>
                  <a:cubicBezTo>
                    <a:pt x="467" y="28"/>
                    <a:pt x="467" y="28"/>
                    <a:pt x="467" y="28"/>
                  </a:cubicBezTo>
                  <a:cubicBezTo>
                    <a:pt x="467" y="32"/>
                    <a:pt x="467" y="32"/>
                    <a:pt x="467" y="32"/>
                  </a:cubicBezTo>
                  <a:cubicBezTo>
                    <a:pt x="468" y="29"/>
                    <a:pt x="470" y="28"/>
                    <a:pt x="474" y="28"/>
                  </a:cubicBezTo>
                  <a:cubicBezTo>
                    <a:pt x="478" y="28"/>
                    <a:pt x="481" y="30"/>
                    <a:pt x="483" y="33"/>
                  </a:cubicBezTo>
                  <a:cubicBezTo>
                    <a:pt x="485" y="30"/>
                    <a:pt x="489" y="28"/>
                    <a:pt x="494" y="28"/>
                  </a:cubicBezTo>
                  <a:cubicBezTo>
                    <a:pt x="501" y="28"/>
                    <a:pt x="505" y="35"/>
                    <a:pt x="505" y="48"/>
                  </a:cubicBezTo>
                  <a:cubicBezTo>
                    <a:pt x="505" y="111"/>
                    <a:pt x="505" y="111"/>
                    <a:pt x="505" y="111"/>
                  </a:cubicBezTo>
                  <a:cubicBezTo>
                    <a:pt x="495" y="111"/>
                    <a:pt x="495" y="111"/>
                    <a:pt x="495" y="111"/>
                  </a:cubicBezTo>
                  <a:cubicBezTo>
                    <a:pt x="495" y="44"/>
                    <a:pt x="495" y="44"/>
                    <a:pt x="495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 noEditPoints="1"/>
            </p:cNvSpPr>
            <p:nvPr/>
          </p:nvSpPr>
          <p:spPr bwMode="auto">
            <a:xfrm>
              <a:off x="3979863" y="3275818"/>
              <a:ext cx="1208088" cy="277416"/>
            </a:xfrm>
            <a:custGeom>
              <a:avLst/>
              <a:gdLst/>
              <a:ahLst/>
              <a:cxnLst>
                <a:cxn ang="0">
                  <a:pos x="10" y="67"/>
                </a:cxn>
                <a:cxn ang="0">
                  <a:pos x="32" y="28"/>
                </a:cxn>
                <a:cxn ang="0">
                  <a:pos x="22" y="111"/>
                </a:cxn>
                <a:cxn ang="0">
                  <a:pos x="10" y="111"/>
                </a:cxn>
                <a:cxn ang="0">
                  <a:pos x="57" y="44"/>
                </a:cxn>
                <a:cxn ang="0">
                  <a:pos x="47" y="95"/>
                </a:cxn>
                <a:cxn ang="0">
                  <a:pos x="57" y="44"/>
                </a:cxn>
                <a:cxn ang="0">
                  <a:pos x="38" y="91"/>
                </a:cxn>
                <a:cxn ang="0">
                  <a:pos x="67" y="48"/>
                </a:cxn>
                <a:cxn ang="0">
                  <a:pos x="85" y="28"/>
                </a:cxn>
                <a:cxn ang="0">
                  <a:pos x="104" y="48"/>
                </a:cxn>
                <a:cxn ang="0">
                  <a:pos x="85" y="108"/>
                </a:cxn>
                <a:cxn ang="0">
                  <a:pos x="75" y="28"/>
                </a:cxn>
                <a:cxn ang="0">
                  <a:pos x="90" y="39"/>
                </a:cxn>
                <a:cxn ang="0">
                  <a:pos x="90" y="101"/>
                </a:cxn>
                <a:cxn ang="0">
                  <a:pos x="140" y="0"/>
                </a:cxn>
                <a:cxn ang="0">
                  <a:pos x="152" y="28"/>
                </a:cxn>
                <a:cxn ang="0">
                  <a:pos x="162" y="111"/>
                </a:cxn>
                <a:cxn ang="0">
                  <a:pos x="140" y="73"/>
                </a:cxn>
                <a:cxn ang="0">
                  <a:pos x="130" y="0"/>
                </a:cxn>
                <a:cxn ang="0">
                  <a:pos x="177" y="44"/>
                </a:cxn>
                <a:cxn ang="0">
                  <a:pos x="167" y="0"/>
                </a:cxn>
                <a:cxn ang="0">
                  <a:pos x="185" y="28"/>
                </a:cxn>
                <a:cxn ang="0">
                  <a:pos x="187" y="111"/>
                </a:cxn>
                <a:cxn ang="0">
                  <a:pos x="220" y="101"/>
                </a:cxn>
                <a:cxn ang="0">
                  <a:pos x="234" y="28"/>
                </a:cxn>
                <a:cxn ang="0">
                  <a:pos x="225" y="108"/>
                </a:cxn>
                <a:cxn ang="0">
                  <a:pos x="206" y="28"/>
                </a:cxn>
                <a:cxn ang="0">
                  <a:pos x="262" y="44"/>
                </a:cxn>
                <a:cxn ang="0">
                  <a:pos x="253" y="111"/>
                </a:cxn>
                <a:cxn ang="0">
                  <a:pos x="253" y="28"/>
                </a:cxn>
                <a:cxn ang="0">
                  <a:pos x="272" y="48"/>
                </a:cxn>
                <a:cxn ang="0">
                  <a:pos x="262" y="44"/>
                </a:cxn>
                <a:cxn ang="0">
                  <a:pos x="308" y="67"/>
                </a:cxn>
                <a:cxn ang="0">
                  <a:pos x="330" y="28"/>
                </a:cxn>
                <a:cxn ang="0">
                  <a:pos x="320" y="111"/>
                </a:cxn>
                <a:cxn ang="0">
                  <a:pos x="308" y="111"/>
                </a:cxn>
                <a:cxn ang="0">
                  <a:pos x="345" y="32"/>
                </a:cxn>
                <a:cxn ang="0">
                  <a:pos x="350" y="39"/>
                </a:cxn>
                <a:cxn ang="0">
                  <a:pos x="335" y="111"/>
                </a:cxn>
                <a:cxn ang="0">
                  <a:pos x="345" y="32"/>
                </a:cxn>
                <a:cxn ang="0">
                  <a:pos x="372" y="79"/>
                </a:cxn>
                <a:cxn ang="0">
                  <a:pos x="374" y="102"/>
                </a:cxn>
                <a:cxn ang="0">
                  <a:pos x="360" y="85"/>
                </a:cxn>
                <a:cxn ang="0">
                  <a:pos x="379" y="62"/>
                </a:cxn>
                <a:cxn ang="0">
                  <a:pos x="370" y="44"/>
                </a:cxn>
                <a:cxn ang="0">
                  <a:pos x="361" y="48"/>
                </a:cxn>
                <a:cxn ang="0">
                  <a:pos x="388" y="111"/>
                </a:cxn>
                <a:cxn ang="0">
                  <a:pos x="371" y="111"/>
                </a:cxn>
                <a:cxn ang="0">
                  <a:pos x="397" y="28"/>
                </a:cxn>
                <a:cxn ang="0">
                  <a:pos x="415" y="28"/>
                </a:cxn>
                <a:cxn ang="0">
                  <a:pos x="415" y="111"/>
                </a:cxn>
                <a:cxn ang="0">
                  <a:pos x="397" y="131"/>
                </a:cxn>
                <a:cxn ang="0">
                  <a:pos x="417" y="44"/>
                </a:cxn>
                <a:cxn ang="0">
                  <a:pos x="407" y="95"/>
                </a:cxn>
              </a:cxnLst>
              <a:rect l="0" t="0" r="r" b="b"/>
              <a:pathLst>
                <a:path w="426" h="131">
                  <a:moveTo>
                    <a:pt x="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32" y="111"/>
                    <a:pt x="32" y="111"/>
                    <a:pt x="3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0" y="73"/>
                    <a:pt x="10" y="73"/>
                    <a:pt x="10" y="73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57" y="44"/>
                  </a:moveTo>
                  <a:cubicBezTo>
                    <a:pt x="57" y="40"/>
                    <a:pt x="56" y="39"/>
                    <a:pt x="52" y="39"/>
                  </a:cubicBezTo>
                  <a:cubicBezTo>
                    <a:pt x="49" y="39"/>
                    <a:pt x="47" y="40"/>
                    <a:pt x="47" y="44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2"/>
                    <a:pt x="52" y="102"/>
                  </a:cubicBezTo>
                  <a:cubicBezTo>
                    <a:pt x="56" y="102"/>
                    <a:pt x="57" y="99"/>
                    <a:pt x="57" y="95"/>
                  </a:cubicBezTo>
                  <a:lnTo>
                    <a:pt x="57" y="44"/>
                  </a:lnTo>
                  <a:close/>
                  <a:moveTo>
                    <a:pt x="67" y="91"/>
                  </a:moveTo>
                  <a:cubicBezTo>
                    <a:pt x="67" y="104"/>
                    <a:pt x="62" y="111"/>
                    <a:pt x="52" y="111"/>
                  </a:cubicBezTo>
                  <a:cubicBezTo>
                    <a:pt x="43" y="111"/>
                    <a:pt x="38" y="104"/>
                    <a:pt x="38" y="91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35"/>
                    <a:pt x="43" y="28"/>
                    <a:pt x="52" y="28"/>
                  </a:cubicBezTo>
                  <a:cubicBezTo>
                    <a:pt x="62" y="28"/>
                    <a:pt x="67" y="35"/>
                    <a:pt x="67" y="48"/>
                  </a:cubicBezTo>
                  <a:lnTo>
                    <a:pt x="67" y="91"/>
                  </a:lnTo>
                  <a:close/>
                  <a:moveTo>
                    <a:pt x="75" y="28"/>
                  </a:moveTo>
                  <a:cubicBezTo>
                    <a:pt x="85" y="28"/>
                    <a:pt x="85" y="28"/>
                    <a:pt x="85" y="28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8" y="30"/>
                    <a:pt x="90" y="28"/>
                    <a:pt x="94" y="28"/>
                  </a:cubicBezTo>
                  <a:cubicBezTo>
                    <a:pt x="101" y="28"/>
                    <a:pt x="104" y="35"/>
                    <a:pt x="104" y="48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104"/>
                    <a:pt x="100" y="111"/>
                    <a:pt x="94" y="111"/>
                  </a:cubicBezTo>
                  <a:cubicBezTo>
                    <a:pt x="89" y="111"/>
                    <a:pt x="86" y="110"/>
                    <a:pt x="85" y="108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75" y="131"/>
                    <a:pt x="75" y="131"/>
                    <a:pt x="75" y="131"/>
                  </a:cubicBezTo>
                  <a:lnTo>
                    <a:pt x="75" y="28"/>
                  </a:lnTo>
                  <a:close/>
                  <a:moveTo>
                    <a:pt x="95" y="95"/>
                  </a:moveTo>
                  <a:cubicBezTo>
                    <a:pt x="95" y="44"/>
                    <a:pt x="95" y="44"/>
                    <a:pt x="95" y="44"/>
                  </a:cubicBezTo>
                  <a:cubicBezTo>
                    <a:pt x="95" y="40"/>
                    <a:pt x="93" y="39"/>
                    <a:pt x="90" y="39"/>
                  </a:cubicBezTo>
                  <a:cubicBezTo>
                    <a:pt x="86" y="39"/>
                    <a:pt x="85" y="40"/>
                    <a:pt x="85" y="44"/>
                  </a:cubicBezTo>
                  <a:cubicBezTo>
                    <a:pt x="85" y="95"/>
                    <a:pt x="85" y="95"/>
                    <a:pt x="85" y="95"/>
                  </a:cubicBezTo>
                  <a:cubicBezTo>
                    <a:pt x="85" y="99"/>
                    <a:pt x="86" y="101"/>
                    <a:pt x="90" y="101"/>
                  </a:cubicBezTo>
                  <a:cubicBezTo>
                    <a:pt x="93" y="101"/>
                    <a:pt x="95" y="99"/>
                    <a:pt x="95" y="95"/>
                  </a:cubicBezTo>
                  <a:close/>
                  <a:moveTo>
                    <a:pt x="130" y="0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140" y="67"/>
                    <a:pt x="140" y="67"/>
                    <a:pt x="140" y="67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62" y="28"/>
                    <a:pt x="162" y="28"/>
                    <a:pt x="162" y="28"/>
                  </a:cubicBezTo>
                  <a:cubicBezTo>
                    <a:pt x="148" y="70"/>
                    <a:pt x="148" y="70"/>
                    <a:pt x="148" y="70"/>
                  </a:cubicBezTo>
                  <a:cubicBezTo>
                    <a:pt x="162" y="111"/>
                    <a:pt x="162" y="111"/>
                    <a:pt x="162" y="111"/>
                  </a:cubicBezTo>
                  <a:cubicBezTo>
                    <a:pt x="152" y="111"/>
                    <a:pt x="152" y="111"/>
                    <a:pt x="152" y="11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30" y="111"/>
                    <a:pt x="130" y="111"/>
                    <a:pt x="130" y="111"/>
                  </a:cubicBezTo>
                  <a:lnTo>
                    <a:pt x="130" y="0"/>
                  </a:lnTo>
                  <a:close/>
                  <a:moveTo>
                    <a:pt x="187" y="44"/>
                  </a:moveTo>
                  <a:cubicBezTo>
                    <a:pt x="187" y="40"/>
                    <a:pt x="185" y="39"/>
                    <a:pt x="182" y="39"/>
                  </a:cubicBezTo>
                  <a:cubicBezTo>
                    <a:pt x="179" y="39"/>
                    <a:pt x="177" y="40"/>
                    <a:pt x="177" y="44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67" y="111"/>
                    <a:pt x="167" y="111"/>
                    <a:pt x="167" y="111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32"/>
                    <a:pt x="177" y="32"/>
                    <a:pt x="177" y="32"/>
                  </a:cubicBezTo>
                  <a:cubicBezTo>
                    <a:pt x="179" y="30"/>
                    <a:pt x="181" y="28"/>
                    <a:pt x="185" y="28"/>
                  </a:cubicBezTo>
                  <a:cubicBezTo>
                    <a:pt x="193" y="28"/>
                    <a:pt x="197" y="35"/>
                    <a:pt x="197" y="48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87" y="111"/>
                    <a:pt x="187" y="111"/>
                    <a:pt x="187" y="111"/>
                  </a:cubicBezTo>
                  <a:cubicBezTo>
                    <a:pt x="187" y="44"/>
                    <a:pt x="187" y="44"/>
                    <a:pt x="187" y="44"/>
                  </a:cubicBezTo>
                  <a:close/>
                  <a:moveTo>
                    <a:pt x="215" y="95"/>
                  </a:moveTo>
                  <a:cubicBezTo>
                    <a:pt x="215" y="99"/>
                    <a:pt x="217" y="101"/>
                    <a:pt x="220" y="101"/>
                  </a:cubicBezTo>
                  <a:cubicBezTo>
                    <a:pt x="223" y="101"/>
                    <a:pt x="225" y="99"/>
                    <a:pt x="225" y="95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34" y="28"/>
                    <a:pt x="234" y="28"/>
                    <a:pt x="234" y="28"/>
                  </a:cubicBezTo>
                  <a:cubicBezTo>
                    <a:pt x="234" y="111"/>
                    <a:pt x="234" y="111"/>
                    <a:pt x="234" y="111"/>
                  </a:cubicBezTo>
                  <a:cubicBezTo>
                    <a:pt x="225" y="111"/>
                    <a:pt x="225" y="111"/>
                    <a:pt x="225" y="111"/>
                  </a:cubicBezTo>
                  <a:cubicBezTo>
                    <a:pt x="225" y="108"/>
                    <a:pt x="225" y="108"/>
                    <a:pt x="225" y="108"/>
                  </a:cubicBezTo>
                  <a:cubicBezTo>
                    <a:pt x="224" y="110"/>
                    <a:pt x="221" y="111"/>
                    <a:pt x="217" y="111"/>
                  </a:cubicBezTo>
                  <a:cubicBezTo>
                    <a:pt x="209" y="111"/>
                    <a:pt x="206" y="104"/>
                    <a:pt x="206" y="91"/>
                  </a:cubicBezTo>
                  <a:cubicBezTo>
                    <a:pt x="206" y="28"/>
                    <a:pt x="206" y="28"/>
                    <a:pt x="206" y="28"/>
                  </a:cubicBezTo>
                  <a:cubicBezTo>
                    <a:pt x="215" y="28"/>
                    <a:pt x="215" y="28"/>
                    <a:pt x="215" y="28"/>
                  </a:cubicBezTo>
                  <a:lnTo>
                    <a:pt x="215" y="95"/>
                  </a:lnTo>
                  <a:close/>
                  <a:moveTo>
                    <a:pt x="262" y="44"/>
                  </a:moveTo>
                  <a:cubicBezTo>
                    <a:pt x="262" y="40"/>
                    <a:pt x="261" y="39"/>
                    <a:pt x="258" y="39"/>
                  </a:cubicBezTo>
                  <a:cubicBezTo>
                    <a:pt x="254" y="39"/>
                    <a:pt x="253" y="40"/>
                    <a:pt x="253" y="44"/>
                  </a:cubicBezTo>
                  <a:cubicBezTo>
                    <a:pt x="253" y="111"/>
                    <a:pt x="253" y="111"/>
                    <a:pt x="253" y="111"/>
                  </a:cubicBezTo>
                  <a:cubicBezTo>
                    <a:pt x="243" y="111"/>
                    <a:pt x="243" y="111"/>
                    <a:pt x="243" y="111"/>
                  </a:cubicBezTo>
                  <a:cubicBezTo>
                    <a:pt x="243" y="28"/>
                    <a:pt x="243" y="28"/>
                    <a:pt x="243" y="28"/>
                  </a:cubicBezTo>
                  <a:cubicBezTo>
                    <a:pt x="253" y="28"/>
                    <a:pt x="253" y="28"/>
                    <a:pt x="253" y="28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54" y="30"/>
                    <a:pt x="257" y="28"/>
                    <a:pt x="261" y="28"/>
                  </a:cubicBezTo>
                  <a:cubicBezTo>
                    <a:pt x="268" y="28"/>
                    <a:pt x="272" y="35"/>
                    <a:pt x="272" y="48"/>
                  </a:cubicBezTo>
                  <a:cubicBezTo>
                    <a:pt x="272" y="111"/>
                    <a:pt x="272" y="111"/>
                    <a:pt x="272" y="111"/>
                  </a:cubicBezTo>
                  <a:cubicBezTo>
                    <a:pt x="262" y="111"/>
                    <a:pt x="262" y="111"/>
                    <a:pt x="262" y="111"/>
                  </a:cubicBezTo>
                  <a:lnTo>
                    <a:pt x="262" y="44"/>
                  </a:lnTo>
                  <a:close/>
                  <a:moveTo>
                    <a:pt x="298" y="0"/>
                  </a:moveTo>
                  <a:cubicBezTo>
                    <a:pt x="308" y="0"/>
                    <a:pt x="308" y="0"/>
                    <a:pt x="308" y="0"/>
                  </a:cubicBezTo>
                  <a:cubicBezTo>
                    <a:pt x="308" y="67"/>
                    <a:pt x="308" y="67"/>
                    <a:pt x="308" y="67"/>
                  </a:cubicBezTo>
                  <a:cubicBezTo>
                    <a:pt x="310" y="59"/>
                    <a:pt x="310" y="59"/>
                    <a:pt x="310" y="59"/>
                  </a:cubicBezTo>
                  <a:cubicBezTo>
                    <a:pt x="320" y="28"/>
                    <a:pt x="320" y="28"/>
                    <a:pt x="320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16" y="70"/>
                    <a:pt x="316" y="70"/>
                    <a:pt x="316" y="70"/>
                  </a:cubicBezTo>
                  <a:cubicBezTo>
                    <a:pt x="330" y="111"/>
                    <a:pt x="330" y="111"/>
                    <a:pt x="330" y="111"/>
                  </a:cubicBezTo>
                  <a:cubicBezTo>
                    <a:pt x="320" y="111"/>
                    <a:pt x="320" y="111"/>
                    <a:pt x="320" y="111"/>
                  </a:cubicBezTo>
                  <a:cubicBezTo>
                    <a:pt x="310" y="81"/>
                    <a:pt x="310" y="81"/>
                    <a:pt x="310" y="81"/>
                  </a:cubicBezTo>
                  <a:cubicBezTo>
                    <a:pt x="308" y="73"/>
                    <a:pt x="308" y="73"/>
                    <a:pt x="308" y="73"/>
                  </a:cubicBezTo>
                  <a:cubicBezTo>
                    <a:pt x="308" y="111"/>
                    <a:pt x="308" y="111"/>
                    <a:pt x="308" y="111"/>
                  </a:cubicBezTo>
                  <a:cubicBezTo>
                    <a:pt x="298" y="111"/>
                    <a:pt x="298" y="111"/>
                    <a:pt x="298" y="111"/>
                  </a:cubicBezTo>
                  <a:lnTo>
                    <a:pt x="298" y="0"/>
                  </a:lnTo>
                  <a:close/>
                  <a:moveTo>
                    <a:pt x="345" y="32"/>
                  </a:moveTo>
                  <a:cubicBezTo>
                    <a:pt x="346" y="30"/>
                    <a:pt x="349" y="28"/>
                    <a:pt x="353" y="28"/>
                  </a:cubicBezTo>
                  <a:cubicBezTo>
                    <a:pt x="353" y="41"/>
                    <a:pt x="353" y="41"/>
                    <a:pt x="353" y="41"/>
                  </a:cubicBezTo>
                  <a:cubicBezTo>
                    <a:pt x="352" y="39"/>
                    <a:pt x="351" y="39"/>
                    <a:pt x="350" y="39"/>
                  </a:cubicBezTo>
                  <a:cubicBezTo>
                    <a:pt x="347" y="39"/>
                    <a:pt x="345" y="40"/>
                    <a:pt x="345" y="44"/>
                  </a:cubicBezTo>
                  <a:cubicBezTo>
                    <a:pt x="345" y="111"/>
                    <a:pt x="345" y="111"/>
                    <a:pt x="345" y="111"/>
                  </a:cubicBezTo>
                  <a:cubicBezTo>
                    <a:pt x="335" y="111"/>
                    <a:pt x="335" y="111"/>
                    <a:pt x="335" y="111"/>
                  </a:cubicBezTo>
                  <a:cubicBezTo>
                    <a:pt x="335" y="28"/>
                    <a:pt x="335" y="28"/>
                    <a:pt x="335" y="28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45" y="32"/>
                    <a:pt x="345" y="32"/>
                    <a:pt x="345" y="32"/>
                  </a:cubicBezTo>
                  <a:close/>
                  <a:moveTo>
                    <a:pt x="379" y="74"/>
                  </a:moveTo>
                  <a:cubicBezTo>
                    <a:pt x="377" y="75"/>
                    <a:pt x="376" y="75"/>
                    <a:pt x="375" y="76"/>
                  </a:cubicBezTo>
                  <a:cubicBezTo>
                    <a:pt x="374" y="77"/>
                    <a:pt x="373" y="77"/>
                    <a:pt x="372" y="79"/>
                  </a:cubicBezTo>
                  <a:cubicBezTo>
                    <a:pt x="370" y="80"/>
                    <a:pt x="369" y="82"/>
                    <a:pt x="369" y="86"/>
                  </a:cubicBezTo>
                  <a:cubicBezTo>
                    <a:pt x="369" y="95"/>
                    <a:pt x="369" y="95"/>
                    <a:pt x="369" y="95"/>
                  </a:cubicBezTo>
                  <a:cubicBezTo>
                    <a:pt x="369" y="99"/>
                    <a:pt x="371" y="102"/>
                    <a:pt x="374" y="102"/>
                  </a:cubicBezTo>
                  <a:cubicBezTo>
                    <a:pt x="377" y="102"/>
                    <a:pt x="379" y="99"/>
                    <a:pt x="379" y="95"/>
                  </a:cubicBezTo>
                  <a:lnTo>
                    <a:pt x="379" y="74"/>
                  </a:lnTo>
                  <a:close/>
                  <a:moveTo>
                    <a:pt x="360" y="85"/>
                  </a:moveTo>
                  <a:cubicBezTo>
                    <a:pt x="360" y="79"/>
                    <a:pt x="362" y="74"/>
                    <a:pt x="367" y="71"/>
                  </a:cubicBezTo>
                  <a:cubicBezTo>
                    <a:pt x="370" y="69"/>
                    <a:pt x="372" y="67"/>
                    <a:pt x="374" y="66"/>
                  </a:cubicBezTo>
                  <a:cubicBezTo>
                    <a:pt x="376" y="64"/>
                    <a:pt x="377" y="63"/>
                    <a:pt x="379" y="62"/>
                  </a:cubicBezTo>
                  <a:cubicBezTo>
                    <a:pt x="379" y="44"/>
                    <a:pt x="379" y="44"/>
                    <a:pt x="379" y="44"/>
                  </a:cubicBezTo>
                  <a:cubicBezTo>
                    <a:pt x="379" y="40"/>
                    <a:pt x="377" y="39"/>
                    <a:pt x="374" y="39"/>
                  </a:cubicBezTo>
                  <a:cubicBezTo>
                    <a:pt x="371" y="39"/>
                    <a:pt x="370" y="40"/>
                    <a:pt x="370" y="44"/>
                  </a:cubicBezTo>
                  <a:cubicBezTo>
                    <a:pt x="370" y="59"/>
                    <a:pt x="370" y="59"/>
                    <a:pt x="370" y="59"/>
                  </a:cubicBezTo>
                  <a:cubicBezTo>
                    <a:pt x="361" y="59"/>
                    <a:pt x="361" y="59"/>
                    <a:pt x="361" y="59"/>
                  </a:cubicBezTo>
                  <a:cubicBezTo>
                    <a:pt x="361" y="48"/>
                    <a:pt x="361" y="48"/>
                    <a:pt x="361" y="48"/>
                  </a:cubicBezTo>
                  <a:cubicBezTo>
                    <a:pt x="361" y="35"/>
                    <a:pt x="365" y="28"/>
                    <a:pt x="374" y="28"/>
                  </a:cubicBezTo>
                  <a:cubicBezTo>
                    <a:pt x="384" y="28"/>
                    <a:pt x="388" y="35"/>
                    <a:pt x="388" y="48"/>
                  </a:cubicBezTo>
                  <a:cubicBezTo>
                    <a:pt x="388" y="111"/>
                    <a:pt x="388" y="111"/>
                    <a:pt x="388" y="111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77" y="110"/>
                    <a:pt x="375" y="111"/>
                    <a:pt x="371" y="111"/>
                  </a:cubicBezTo>
                  <a:cubicBezTo>
                    <a:pt x="363" y="111"/>
                    <a:pt x="360" y="104"/>
                    <a:pt x="360" y="91"/>
                  </a:cubicBezTo>
                  <a:lnTo>
                    <a:pt x="360" y="85"/>
                  </a:lnTo>
                  <a:close/>
                  <a:moveTo>
                    <a:pt x="397" y="28"/>
                  </a:moveTo>
                  <a:cubicBezTo>
                    <a:pt x="407" y="28"/>
                    <a:pt x="407" y="28"/>
                    <a:pt x="407" y="28"/>
                  </a:cubicBezTo>
                  <a:cubicBezTo>
                    <a:pt x="407" y="32"/>
                    <a:pt x="407" y="32"/>
                    <a:pt x="407" y="32"/>
                  </a:cubicBezTo>
                  <a:cubicBezTo>
                    <a:pt x="410" y="30"/>
                    <a:pt x="412" y="28"/>
                    <a:pt x="415" y="28"/>
                  </a:cubicBezTo>
                  <a:cubicBezTo>
                    <a:pt x="422" y="28"/>
                    <a:pt x="426" y="35"/>
                    <a:pt x="426" y="48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6" y="104"/>
                    <a:pt x="422" y="111"/>
                    <a:pt x="415" y="111"/>
                  </a:cubicBezTo>
                  <a:cubicBezTo>
                    <a:pt x="411" y="111"/>
                    <a:pt x="408" y="110"/>
                    <a:pt x="407" y="108"/>
                  </a:cubicBezTo>
                  <a:cubicBezTo>
                    <a:pt x="407" y="131"/>
                    <a:pt x="407" y="131"/>
                    <a:pt x="407" y="131"/>
                  </a:cubicBezTo>
                  <a:cubicBezTo>
                    <a:pt x="397" y="131"/>
                    <a:pt x="397" y="131"/>
                    <a:pt x="397" y="131"/>
                  </a:cubicBezTo>
                  <a:lnTo>
                    <a:pt x="397" y="28"/>
                  </a:lnTo>
                  <a:close/>
                  <a:moveTo>
                    <a:pt x="417" y="95"/>
                  </a:moveTo>
                  <a:cubicBezTo>
                    <a:pt x="417" y="44"/>
                    <a:pt x="417" y="44"/>
                    <a:pt x="417" y="44"/>
                  </a:cubicBezTo>
                  <a:cubicBezTo>
                    <a:pt x="417" y="40"/>
                    <a:pt x="415" y="39"/>
                    <a:pt x="412" y="39"/>
                  </a:cubicBezTo>
                  <a:cubicBezTo>
                    <a:pt x="408" y="39"/>
                    <a:pt x="407" y="40"/>
                    <a:pt x="407" y="44"/>
                  </a:cubicBezTo>
                  <a:cubicBezTo>
                    <a:pt x="407" y="95"/>
                    <a:pt x="407" y="95"/>
                    <a:pt x="407" y="95"/>
                  </a:cubicBezTo>
                  <a:cubicBezTo>
                    <a:pt x="407" y="99"/>
                    <a:pt x="408" y="101"/>
                    <a:pt x="412" y="101"/>
                  </a:cubicBezTo>
                  <a:cubicBezTo>
                    <a:pt x="415" y="101"/>
                    <a:pt x="417" y="99"/>
                    <a:pt x="417" y="9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 noEditPoints="1"/>
            </p:cNvSpPr>
            <p:nvPr/>
          </p:nvSpPr>
          <p:spPr bwMode="auto">
            <a:xfrm>
              <a:off x="4892677" y="1435112"/>
              <a:ext cx="981075" cy="278606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0" y="29"/>
                </a:cxn>
                <a:cxn ang="0">
                  <a:pos x="18" y="29"/>
                </a:cxn>
                <a:cxn ang="0">
                  <a:pos x="20" y="112"/>
                </a:cxn>
                <a:cxn ang="0">
                  <a:pos x="52" y="100"/>
                </a:cxn>
                <a:cxn ang="0">
                  <a:pos x="52" y="39"/>
                </a:cxn>
                <a:cxn ang="0">
                  <a:pos x="52" y="121"/>
                </a:cxn>
                <a:cxn ang="0">
                  <a:pos x="49" y="109"/>
                </a:cxn>
                <a:cxn ang="0">
                  <a:pos x="49" y="29"/>
                </a:cxn>
                <a:cxn ang="0">
                  <a:pos x="67" y="29"/>
                </a:cxn>
                <a:cxn ang="0">
                  <a:pos x="38" y="116"/>
                </a:cxn>
                <a:cxn ang="0">
                  <a:pos x="85" y="16"/>
                </a:cxn>
                <a:cxn ang="0">
                  <a:pos x="85" y="0"/>
                </a:cxn>
                <a:cxn ang="0">
                  <a:pos x="76" y="112"/>
                </a:cxn>
                <a:cxn ang="0">
                  <a:pos x="85" y="112"/>
                </a:cxn>
                <a:cxn ang="0">
                  <a:pos x="91" y="29"/>
                </a:cxn>
                <a:cxn ang="0">
                  <a:pos x="107" y="83"/>
                </a:cxn>
                <a:cxn ang="0">
                  <a:pos x="123" y="29"/>
                </a:cxn>
                <a:cxn ang="0">
                  <a:pos x="93" y="131"/>
                </a:cxn>
                <a:cxn ang="0">
                  <a:pos x="144" y="77"/>
                </a:cxn>
                <a:cxn ang="0">
                  <a:pos x="138" y="96"/>
                </a:cxn>
                <a:cxn ang="0">
                  <a:pos x="148" y="75"/>
                </a:cxn>
                <a:cxn ang="0">
                  <a:pos x="143" y="66"/>
                </a:cxn>
                <a:cxn ang="0">
                  <a:pos x="143" y="39"/>
                </a:cxn>
                <a:cxn ang="0">
                  <a:pos x="129" y="60"/>
                </a:cxn>
                <a:cxn ang="0">
                  <a:pos x="157" y="49"/>
                </a:cxn>
                <a:cxn ang="0">
                  <a:pos x="148" y="108"/>
                </a:cxn>
                <a:cxn ang="0">
                  <a:pos x="129" y="86"/>
                </a:cxn>
                <a:cxn ang="0">
                  <a:pos x="176" y="45"/>
                </a:cxn>
                <a:cxn ang="0">
                  <a:pos x="185" y="96"/>
                </a:cxn>
                <a:cxn ang="0">
                  <a:pos x="176" y="0"/>
                </a:cxn>
                <a:cxn ang="0">
                  <a:pos x="195" y="49"/>
                </a:cxn>
                <a:cxn ang="0">
                  <a:pos x="172" y="105"/>
                </a:cxn>
                <a:cxn ang="0">
                  <a:pos x="166" y="0"/>
                </a:cxn>
                <a:cxn ang="0">
                  <a:pos x="213" y="45"/>
                </a:cxn>
                <a:cxn ang="0">
                  <a:pos x="223" y="96"/>
                </a:cxn>
                <a:cxn ang="0">
                  <a:pos x="218" y="112"/>
                </a:cxn>
                <a:cxn ang="0">
                  <a:pos x="218" y="29"/>
                </a:cxn>
                <a:cxn ang="0">
                  <a:pos x="261" y="45"/>
                </a:cxn>
                <a:cxn ang="0">
                  <a:pos x="251" y="112"/>
                </a:cxn>
                <a:cxn ang="0">
                  <a:pos x="251" y="29"/>
                </a:cxn>
                <a:cxn ang="0">
                  <a:pos x="271" y="49"/>
                </a:cxn>
                <a:cxn ang="0">
                  <a:pos x="261" y="45"/>
                </a:cxn>
                <a:cxn ang="0">
                  <a:pos x="299" y="95"/>
                </a:cxn>
                <a:cxn ang="0">
                  <a:pos x="289" y="45"/>
                </a:cxn>
                <a:cxn ang="0">
                  <a:pos x="299" y="116"/>
                </a:cxn>
                <a:cxn ang="0">
                  <a:pos x="280" y="90"/>
                </a:cxn>
                <a:cxn ang="0">
                  <a:pos x="299" y="33"/>
                </a:cxn>
                <a:cxn ang="0">
                  <a:pos x="308" y="112"/>
                </a:cxn>
                <a:cxn ang="0">
                  <a:pos x="289" y="116"/>
                </a:cxn>
                <a:cxn ang="0">
                  <a:pos x="333" y="77"/>
                </a:cxn>
                <a:cxn ang="0">
                  <a:pos x="327" y="96"/>
                </a:cxn>
                <a:cxn ang="0">
                  <a:pos x="336" y="75"/>
                </a:cxn>
                <a:cxn ang="0">
                  <a:pos x="331" y="66"/>
                </a:cxn>
                <a:cxn ang="0">
                  <a:pos x="332" y="39"/>
                </a:cxn>
                <a:cxn ang="0">
                  <a:pos x="318" y="60"/>
                </a:cxn>
                <a:cxn ang="0">
                  <a:pos x="346" y="49"/>
                </a:cxn>
                <a:cxn ang="0">
                  <a:pos x="336" y="108"/>
                </a:cxn>
                <a:cxn ang="0">
                  <a:pos x="317" y="86"/>
                </a:cxn>
              </a:cxnLst>
              <a:rect l="0" t="0" r="r" b="b"/>
              <a:pathLst>
                <a:path w="346" h="131">
                  <a:moveTo>
                    <a:pt x="20" y="45"/>
                  </a:moveTo>
                  <a:cubicBezTo>
                    <a:pt x="20" y="41"/>
                    <a:pt x="18" y="39"/>
                    <a:pt x="14" y="39"/>
                  </a:cubicBezTo>
                  <a:cubicBezTo>
                    <a:pt x="11" y="39"/>
                    <a:pt x="9" y="41"/>
                    <a:pt x="9" y="45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1" y="30"/>
                    <a:pt x="13" y="29"/>
                    <a:pt x="18" y="29"/>
                  </a:cubicBezTo>
                  <a:cubicBezTo>
                    <a:pt x="25" y="29"/>
                    <a:pt x="29" y="36"/>
                    <a:pt x="29" y="49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45"/>
                    <a:pt x="20" y="45"/>
                    <a:pt x="20" y="45"/>
                  </a:cubicBezTo>
                  <a:close/>
                  <a:moveTo>
                    <a:pt x="48" y="94"/>
                  </a:moveTo>
                  <a:cubicBezTo>
                    <a:pt x="48" y="98"/>
                    <a:pt x="49" y="100"/>
                    <a:pt x="52" y="100"/>
                  </a:cubicBezTo>
                  <a:cubicBezTo>
                    <a:pt x="55" y="100"/>
                    <a:pt x="57" y="98"/>
                    <a:pt x="57" y="9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1"/>
                    <a:pt x="55" y="39"/>
                    <a:pt x="52" y="39"/>
                  </a:cubicBezTo>
                  <a:cubicBezTo>
                    <a:pt x="49" y="39"/>
                    <a:pt x="48" y="41"/>
                    <a:pt x="48" y="45"/>
                  </a:cubicBezTo>
                  <a:lnTo>
                    <a:pt x="48" y="94"/>
                  </a:lnTo>
                  <a:close/>
                  <a:moveTo>
                    <a:pt x="52" y="121"/>
                  </a:moveTo>
                  <a:cubicBezTo>
                    <a:pt x="55" y="121"/>
                    <a:pt x="57" y="120"/>
                    <a:pt x="57" y="116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56" y="108"/>
                    <a:pt x="53" y="109"/>
                    <a:pt x="49" y="109"/>
                  </a:cubicBezTo>
                  <a:cubicBezTo>
                    <a:pt x="41" y="109"/>
                    <a:pt x="38" y="103"/>
                    <a:pt x="38" y="9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36"/>
                    <a:pt x="41" y="29"/>
                    <a:pt x="49" y="29"/>
                  </a:cubicBezTo>
                  <a:cubicBezTo>
                    <a:pt x="52" y="29"/>
                    <a:pt x="54" y="30"/>
                    <a:pt x="57" y="33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7" y="125"/>
                    <a:pt x="62" y="131"/>
                    <a:pt x="52" y="131"/>
                  </a:cubicBezTo>
                  <a:cubicBezTo>
                    <a:pt x="44" y="131"/>
                    <a:pt x="39" y="126"/>
                    <a:pt x="38" y="116"/>
                  </a:cubicBezTo>
                  <a:cubicBezTo>
                    <a:pt x="48" y="116"/>
                    <a:pt x="48" y="116"/>
                    <a:pt x="48" y="116"/>
                  </a:cubicBezTo>
                  <a:cubicBezTo>
                    <a:pt x="48" y="120"/>
                    <a:pt x="49" y="121"/>
                    <a:pt x="52" y="121"/>
                  </a:cubicBezTo>
                  <a:close/>
                  <a:moveTo>
                    <a:pt x="85" y="16"/>
                  </a:moveTo>
                  <a:cubicBezTo>
                    <a:pt x="76" y="16"/>
                    <a:pt x="76" y="16"/>
                    <a:pt x="76" y="16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5" y="0"/>
                    <a:pt x="85" y="0"/>
                    <a:pt x="85" y="0"/>
                  </a:cubicBezTo>
                  <a:lnTo>
                    <a:pt x="85" y="16"/>
                  </a:lnTo>
                  <a:close/>
                  <a:moveTo>
                    <a:pt x="85" y="112"/>
                  </a:moveTo>
                  <a:cubicBezTo>
                    <a:pt x="76" y="112"/>
                    <a:pt x="76" y="112"/>
                    <a:pt x="76" y="112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85" y="29"/>
                    <a:pt x="85" y="29"/>
                    <a:pt x="85" y="29"/>
                  </a:cubicBezTo>
                  <a:lnTo>
                    <a:pt x="85" y="112"/>
                  </a:lnTo>
                  <a:close/>
                  <a:moveTo>
                    <a:pt x="93" y="121"/>
                  </a:moveTo>
                  <a:cubicBezTo>
                    <a:pt x="98" y="121"/>
                    <a:pt x="101" y="118"/>
                    <a:pt x="102" y="112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6" y="66"/>
                    <a:pt x="106" y="66"/>
                    <a:pt x="106" y="66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1" y="118"/>
                    <a:pt x="109" y="123"/>
                    <a:pt x="105" y="126"/>
                  </a:cubicBezTo>
                  <a:cubicBezTo>
                    <a:pt x="102" y="130"/>
                    <a:pt x="98" y="131"/>
                    <a:pt x="93" y="131"/>
                  </a:cubicBezTo>
                  <a:cubicBezTo>
                    <a:pt x="93" y="121"/>
                    <a:pt x="93" y="121"/>
                    <a:pt x="93" y="121"/>
                  </a:cubicBezTo>
                  <a:close/>
                  <a:moveTo>
                    <a:pt x="148" y="75"/>
                  </a:moveTo>
                  <a:cubicBezTo>
                    <a:pt x="147" y="75"/>
                    <a:pt x="145" y="76"/>
                    <a:pt x="144" y="77"/>
                  </a:cubicBezTo>
                  <a:cubicBezTo>
                    <a:pt x="143" y="77"/>
                    <a:pt x="142" y="78"/>
                    <a:pt x="141" y="78"/>
                  </a:cubicBezTo>
                  <a:cubicBezTo>
                    <a:pt x="139" y="80"/>
                    <a:pt x="138" y="83"/>
                    <a:pt x="138" y="87"/>
                  </a:cubicBezTo>
                  <a:cubicBezTo>
                    <a:pt x="138" y="96"/>
                    <a:pt x="138" y="96"/>
                    <a:pt x="138" y="96"/>
                  </a:cubicBezTo>
                  <a:cubicBezTo>
                    <a:pt x="138" y="100"/>
                    <a:pt x="139" y="102"/>
                    <a:pt x="143" y="102"/>
                  </a:cubicBezTo>
                  <a:cubicBezTo>
                    <a:pt x="146" y="102"/>
                    <a:pt x="148" y="100"/>
                    <a:pt x="148" y="96"/>
                  </a:cubicBezTo>
                  <a:lnTo>
                    <a:pt x="148" y="75"/>
                  </a:lnTo>
                  <a:close/>
                  <a:moveTo>
                    <a:pt x="129" y="86"/>
                  </a:moveTo>
                  <a:cubicBezTo>
                    <a:pt x="129" y="80"/>
                    <a:pt x="131" y="75"/>
                    <a:pt x="136" y="71"/>
                  </a:cubicBezTo>
                  <a:cubicBezTo>
                    <a:pt x="138" y="69"/>
                    <a:pt x="140" y="67"/>
                    <a:pt x="143" y="66"/>
                  </a:cubicBezTo>
                  <a:cubicBezTo>
                    <a:pt x="144" y="64"/>
                    <a:pt x="146" y="63"/>
                    <a:pt x="148" y="63"/>
                  </a:cubicBezTo>
                  <a:cubicBezTo>
                    <a:pt x="148" y="45"/>
                    <a:pt x="148" y="45"/>
                    <a:pt x="148" y="45"/>
                  </a:cubicBezTo>
                  <a:cubicBezTo>
                    <a:pt x="148" y="41"/>
                    <a:pt x="146" y="39"/>
                    <a:pt x="143" y="39"/>
                  </a:cubicBezTo>
                  <a:cubicBezTo>
                    <a:pt x="140" y="39"/>
                    <a:pt x="139" y="41"/>
                    <a:pt x="139" y="45"/>
                  </a:cubicBezTo>
                  <a:cubicBezTo>
                    <a:pt x="139" y="60"/>
                    <a:pt x="139" y="60"/>
                    <a:pt x="139" y="60"/>
                  </a:cubicBezTo>
                  <a:cubicBezTo>
                    <a:pt x="129" y="60"/>
                    <a:pt x="129" y="60"/>
                    <a:pt x="129" y="60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29" y="36"/>
                    <a:pt x="134" y="29"/>
                    <a:pt x="143" y="29"/>
                  </a:cubicBezTo>
                  <a:cubicBezTo>
                    <a:pt x="153" y="29"/>
                    <a:pt x="157" y="36"/>
                    <a:pt x="157" y="49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48" y="112"/>
                    <a:pt x="148" y="112"/>
                    <a:pt x="148" y="112"/>
                  </a:cubicBezTo>
                  <a:cubicBezTo>
                    <a:pt x="148" y="108"/>
                    <a:pt x="148" y="108"/>
                    <a:pt x="148" y="108"/>
                  </a:cubicBezTo>
                  <a:cubicBezTo>
                    <a:pt x="146" y="111"/>
                    <a:pt x="143" y="112"/>
                    <a:pt x="140" y="112"/>
                  </a:cubicBezTo>
                  <a:cubicBezTo>
                    <a:pt x="132" y="112"/>
                    <a:pt x="129" y="105"/>
                    <a:pt x="129" y="92"/>
                  </a:cubicBezTo>
                  <a:cubicBezTo>
                    <a:pt x="129" y="86"/>
                    <a:pt x="129" y="86"/>
                    <a:pt x="129" y="86"/>
                  </a:cubicBezTo>
                  <a:close/>
                  <a:moveTo>
                    <a:pt x="185" y="45"/>
                  </a:moveTo>
                  <a:cubicBezTo>
                    <a:pt x="185" y="41"/>
                    <a:pt x="184" y="39"/>
                    <a:pt x="180" y="39"/>
                  </a:cubicBezTo>
                  <a:cubicBezTo>
                    <a:pt x="177" y="39"/>
                    <a:pt x="176" y="41"/>
                    <a:pt x="176" y="45"/>
                  </a:cubicBezTo>
                  <a:cubicBezTo>
                    <a:pt x="176" y="96"/>
                    <a:pt x="176" y="96"/>
                    <a:pt x="176" y="96"/>
                  </a:cubicBezTo>
                  <a:cubicBezTo>
                    <a:pt x="176" y="100"/>
                    <a:pt x="177" y="102"/>
                    <a:pt x="180" y="102"/>
                  </a:cubicBezTo>
                  <a:cubicBezTo>
                    <a:pt x="184" y="102"/>
                    <a:pt x="185" y="100"/>
                    <a:pt x="185" y="96"/>
                  </a:cubicBezTo>
                  <a:lnTo>
                    <a:pt x="185" y="45"/>
                  </a:lnTo>
                  <a:close/>
                  <a:moveTo>
                    <a:pt x="166" y="0"/>
                  </a:moveTo>
                  <a:cubicBezTo>
                    <a:pt x="176" y="0"/>
                    <a:pt x="176" y="0"/>
                    <a:pt x="176" y="0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77" y="30"/>
                    <a:pt x="179" y="29"/>
                    <a:pt x="184" y="29"/>
                  </a:cubicBezTo>
                  <a:cubicBezTo>
                    <a:pt x="191" y="29"/>
                    <a:pt x="195" y="36"/>
                    <a:pt x="195" y="49"/>
                  </a:cubicBezTo>
                  <a:cubicBezTo>
                    <a:pt x="195" y="92"/>
                    <a:pt x="195" y="92"/>
                    <a:pt x="195" y="92"/>
                  </a:cubicBezTo>
                  <a:cubicBezTo>
                    <a:pt x="195" y="105"/>
                    <a:pt x="191" y="112"/>
                    <a:pt x="182" y="112"/>
                  </a:cubicBezTo>
                  <a:cubicBezTo>
                    <a:pt x="177" y="112"/>
                    <a:pt x="174" y="109"/>
                    <a:pt x="172" y="105"/>
                  </a:cubicBezTo>
                  <a:cubicBezTo>
                    <a:pt x="170" y="112"/>
                    <a:pt x="170" y="112"/>
                    <a:pt x="170" y="112"/>
                  </a:cubicBezTo>
                  <a:cubicBezTo>
                    <a:pt x="166" y="112"/>
                    <a:pt x="166" y="112"/>
                    <a:pt x="166" y="112"/>
                  </a:cubicBezTo>
                  <a:cubicBezTo>
                    <a:pt x="166" y="0"/>
                    <a:pt x="166" y="0"/>
                    <a:pt x="166" y="0"/>
                  </a:cubicBezTo>
                  <a:close/>
                  <a:moveTo>
                    <a:pt x="223" y="45"/>
                  </a:moveTo>
                  <a:cubicBezTo>
                    <a:pt x="223" y="41"/>
                    <a:pt x="221" y="39"/>
                    <a:pt x="218" y="39"/>
                  </a:cubicBezTo>
                  <a:cubicBezTo>
                    <a:pt x="215" y="39"/>
                    <a:pt x="213" y="41"/>
                    <a:pt x="213" y="45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3" y="100"/>
                    <a:pt x="215" y="102"/>
                    <a:pt x="218" y="102"/>
                  </a:cubicBezTo>
                  <a:cubicBezTo>
                    <a:pt x="222" y="102"/>
                    <a:pt x="223" y="100"/>
                    <a:pt x="223" y="96"/>
                  </a:cubicBezTo>
                  <a:lnTo>
                    <a:pt x="223" y="45"/>
                  </a:lnTo>
                  <a:close/>
                  <a:moveTo>
                    <a:pt x="232" y="92"/>
                  </a:moveTo>
                  <a:cubicBezTo>
                    <a:pt x="232" y="105"/>
                    <a:pt x="228" y="112"/>
                    <a:pt x="218" y="112"/>
                  </a:cubicBezTo>
                  <a:cubicBezTo>
                    <a:pt x="209" y="112"/>
                    <a:pt x="204" y="105"/>
                    <a:pt x="204" y="92"/>
                  </a:cubicBezTo>
                  <a:cubicBezTo>
                    <a:pt x="204" y="49"/>
                    <a:pt x="204" y="49"/>
                    <a:pt x="204" y="49"/>
                  </a:cubicBezTo>
                  <a:cubicBezTo>
                    <a:pt x="204" y="36"/>
                    <a:pt x="209" y="29"/>
                    <a:pt x="218" y="29"/>
                  </a:cubicBezTo>
                  <a:cubicBezTo>
                    <a:pt x="228" y="29"/>
                    <a:pt x="232" y="36"/>
                    <a:pt x="232" y="49"/>
                  </a:cubicBezTo>
                  <a:lnTo>
                    <a:pt x="232" y="92"/>
                  </a:lnTo>
                  <a:close/>
                  <a:moveTo>
                    <a:pt x="261" y="45"/>
                  </a:moveTo>
                  <a:cubicBezTo>
                    <a:pt x="261" y="41"/>
                    <a:pt x="259" y="39"/>
                    <a:pt x="256" y="39"/>
                  </a:cubicBezTo>
                  <a:cubicBezTo>
                    <a:pt x="253" y="39"/>
                    <a:pt x="251" y="41"/>
                    <a:pt x="251" y="45"/>
                  </a:cubicBezTo>
                  <a:cubicBezTo>
                    <a:pt x="251" y="112"/>
                    <a:pt x="251" y="112"/>
                    <a:pt x="251" y="112"/>
                  </a:cubicBezTo>
                  <a:cubicBezTo>
                    <a:pt x="241" y="112"/>
                    <a:pt x="241" y="112"/>
                    <a:pt x="241" y="112"/>
                  </a:cubicBezTo>
                  <a:cubicBezTo>
                    <a:pt x="241" y="29"/>
                    <a:pt x="241" y="29"/>
                    <a:pt x="241" y="29"/>
                  </a:cubicBezTo>
                  <a:cubicBezTo>
                    <a:pt x="251" y="29"/>
                    <a:pt x="251" y="29"/>
                    <a:pt x="251" y="29"/>
                  </a:cubicBezTo>
                  <a:cubicBezTo>
                    <a:pt x="251" y="32"/>
                    <a:pt x="251" y="32"/>
                    <a:pt x="251" y="32"/>
                  </a:cubicBezTo>
                  <a:cubicBezTo>
                    <a:pt x="252" y="30"/>
                    <a:pt x="255" y="29"/>
                    <a:pt x="259" y="29"/>
                  </a:cubicBezTo>
                  <a:cubicBezTo>
                    <a:pt x="267" y="29"/>
                    <a:pt x="271" y="36"/>
                    <a:pt x="271" y="49"/>
                  </a:cubicBezTo>
                  <a:cubicBezTo>
                    <a:pt x="271" y="112"/>
                    <a:pt x="271" y="112"/>
                    <a:pt x="271" y="112"/>
                  </a:cubicBezTo>
                  <a:cubicBezTo>
                    <a:pt x="261" y="112"/>
                    <a:pt x="261" y="112"/>
                    <a:pt x="261" y="112"/>
                  </a:cubicBezTo>
                  <a:cubicBezTo>
                    <a:pt x="261" y="45"/>
                    <a:pt x="261" y="45"/>
                    <a:pt x="261" y="45"/>
                  </a:cubicBezTo>
                  <a:close/>
                  <a:moveTo>
                    <a:pt x="289" y="94"/>
                  </a:moveTo>
                  <a:cubicBezTo>
                    <a:pt x="289" y="98"/>
                    <a:pt x="291" y="100"/>
                    <a:pt x="294" y="100"/>
                  </a:cubicBezTo>
                  <a:cubicBezTo>
                    <a:pt x="297" y="100"/>
                    <a:pt x="299" y="98"/>
                    <a:pt x="299" y="95"/>
                  </a:cubicBezTo>
                  <a:cubicBezTo>
                    <a:pt x="299" y="45"/>
                    <a:pt x="299" y="45"/>
                    <a:pt x="299" y="45"/>
                  </a:cubicBezTo>
                  <a:cubicBezTo>
                    <a:pt x="299" y="41"/>
                    <a:pt x="297" y="39"/>
                    <a:pt x="294" y="39"/>
                  </a:cubicBezTo>
                  <a:cubicBezTo>
                    <a:pt x="290" y="39"/>
                    <a:pt x="289" y="41"/>
                    <a:pt x="289" y="45"/>
                  </a:cubicBezTo>
                  <a:lnTo>
                    <a:pt x="289" y="94"/>
                  </a:lnTo>
                  <a:close/>
                  <a:moveTo>
                    <a:pt x="294" y="121"/>
                  </a:moveTo>
                  <a:cubicBezTo>
                    <a:pt x="297" y="121"/>
                    <a:pt x="299" y="120"/>
                    <a:pt x="299" y="116"/>
                  </a:cubicBezTo>
                  <a:cubicBezTo>
                    <a:pt x="299" y="106"/>
                    <a:pt x="299" y="106"/>
                    <a:pt x="299" y="106"/>
                  </a:cubicBezTo>
                  <a:cubicBezTo>
                    <a:pt x="298" y="108"/>
                    <a:pt x="295" y="109"/>
                    <a:pt x="290" y="109"/>
                  </a:cubicBezTo>
                  <a:cubicBezTo>
                    <a:pt x="283" y="109"/>
                    <a:pt x="280" y="103"/>
                    <a:pt x="280" y="90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36"/>
                    <a:pt x="283" y="29"/>
                    <a:pt x="290" y="29"/>
                  </a:cubicBezTo>
                  <a:cubicBezTo>
                    <a:pt x="293" y="29"/>
                    <a:pt x="296" y="30"/>
                    <a:pt x="299" y="33"/>
                  </a:cubicBezTo>
                  <a:cubicBezTo>
                    <a:pt x="299" y="29"/>
                    <a:pt x="299" y="29"/>
                    <a:pt x="299" y="29"/>
                  </a:cubicBezTo>
                  <a:cubicBezTo>
                    <a:pt x="308" y="29"/>
                    <a:pt x="308" y="29"/>
                    <a:pt x="308" y="29"/>
                  </a:cubicBezTo>
                  <a:cubicBezTo>
                    <a:pt x="308" y="112"/>
                    <a:pt x="308" y="112"/>
                    <a:pt x="308" y="112"/>
                  </a:cubicBezTo>
                  <a:cubicBezTo>
                    <a:pt x="308" y="125"/>
                    <a:pt x="303" y="131"/>
                    <a:pt x="294" y="131"/>
                  </a:cubicBezTo>
                  <a:cubicBezTo>
                    <a:pt x="285" y="131"/>
                    <a:pt x="281" y="126"/>
                    <a:pt x="280" y="116"/>
                  </a:cubicBezTo>
                  <a:cubicBezTo>
                    <a:pt x="289" y="116"/>
                    <a:pt x="289" y="116"/>
                    <a:pt x="289" y="116"/>
                  </a:cubicBezTo>
                  <a:cubicBezTo>
                    <a:pt x="289" y="120"/>
                    <a:pt x="291" y="121"/>
                    <a:pt x="294" y="121"/>
                  </a:cubicBezTo>
                  <a:close/>
                  <a:moveTo>
                    <a:pt x="336" y="75"/>
                  </a:moveTo>
                  <a:cubicBezTo>
                    <a:pt x="335" y="75"/>
                    <a:pt x="334" y="76"/>
                    <a:pt x="333" y="77"/>
                  </a:cubicBezTo>
                  <a:cubicBezTo>
                    <a:pt x="332" y="77"/>
                    <a:pt x="331" y="78"/>
                    <a:pt x="330" y="78"/>
                  </a:cubicBezTo>
                  <a:cubicBezTo>
                    <a:pt x="328" y="80"/>
                    <a:pt x="327" y="83"/>
                    <a:pt x="327" y="87"/>
                  </a:cubicBezTo>
                  <a:cubicBezTo>
                    <a:pt x="327" y="96"/>
                    <a:pt x="327" y="96"/>
                    <a:pt x="327" y="96"/>
                  </a:cubicBezTo>
                  <a:cubicBezTo>
                    <a:pt x="327" y="100"/>
                    <a:pt x="329" y="102"/>
                    <a:pt x="331" y="102"/>
                  </a:cubicBezTo>
                  <a:cubicBezTo>
                    <a:pt x="335" y="102"/>
                    <a:pt x="336" y="100"/>
                    <a:pt x="336" y="96"/>
                  </a:cubicBezTo>
                  <a:lnTo>
                    <a:pt x="336" y="75"/>
                  </a:lnTo>
                  <a:close/>
                  <a:moveTo>
                    <a:pt x="317" y="86"/>
                  </a:moveTo>
                  <a:cubicBezTo>
                    <a:pt x="317" y="80"/>
                    <a:pt x="320" y="75"/>
                    <a:pt x="325" y="71"/>
                  </a:cubicBezTo>
                  <a:cubicBezTo>
                    <a:pt x="327" y="69"/>
                    <a:pt x="329" y="67"/>
                    <a:pt x="331" y="66"/>
                  </a:cubicBezTo>
                  <a:cubicBezTo>
                    <a:pt x="333" y="64"/>
                    <a:pt x="335" y="63"/>
                    <a:pt x="336" y="63"/>
                  </a:cubicBezTo>
                  <a:cubicBezTo>
                    <a:pt x="336" y="45"/>
                    <a:pt x="336" y="45"/>
                    <a:pt x="336" y="45"/>
                  </a:cubicBezTo>
                  <a:cubicBezTo>
                    <a:pt x="336" y="41"/>
                    <a:pt x="335" y="39"/>
                    <a:pt x="332" y="39"/>
                  </a:cubicBezTo>
                  <a:cubicBezTo>
                    <a:pt x="329" y="39"/>
                    <a:pt x="328" y="41"/>
                    <a:pt x="328" y="45"/>
                  </a:cubicBezTo>
                  <a:cubicBezTo>
                    <a:pt x="328" y="60"/>
                    <a:pt x="328" y="60"/>
                    <a:pt x="328" y="60"/>
                  </a:cubicBezTo>
                  <a:cubicBezTo>
                    <a:pt x="318" y="60"/>
                    <a:pt x="318" y="60"/>
                    <a:pt x="318" y="60"/>
                  </a:cubicBezTo>
                  <a:cubicBezTo>
                    <a:pt x="318" y="49"/>
                    <a:pt x="318" y="49"/>
                    <a:pt x="318" y="49"/>
                  </a:cubicBezTo>
                  <a:cubicBezTo>
                    <a:pt x="318" y="36"/>
                    <a:pt x="323" y="29"/>
                    <a:pt x="332" y="29"/>
                  </a:cubicBezTo>
                  <a:cubicBezTo>
                    <a:pt x="341" y="29"/>
                    <a:pt x="346" y="36"/>
                    <a:pt x="346" y="49"/>
                  </a:cubicBezTo>
                  <a:cubicBezTo>
                    <a:pt x="346" y="112"/>
                    <a:pt x="346" y="112"/>
                    <a:pt x="34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08"/>
                    <a:pt x="336" y="108"/>
                    <a:pt x="336" y="108"/>
                  </a:cubicBezTo>
                  <a:cubicBezTo>
                    <a:pt x="335" y="111"/>
                    <a:pt x="333" y="112"/>
                    <a:pt x="329" y="112"/>
                  </a:cubicBezTo>
                  <a:cubicBezTo>
                    <a:pt x="321" y="112"/>
                    <a:pt x="317" y="105"/>
                    <a:pt x="317" y="92"/>
                  </a:cubicBezTo>
                  <a:cubicBezTo>
                    <a:pt x="317" y="86"/>
                    <a:pt x="317" y="86"/>
                    <a:pt x="317" y="8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7569201" y="1881596"/>
              <a:ext cx="369888" cy="716756"/>
            </a:xfrm>
            <a:custGeom>
              <a:avLst/>
              <a:gdLst/>
              <a:ahLst/>
              <a:cxnLst>
                <a:cxn ang="0">
                  <a:pos x="0" y="334"/>
                </a:cxn>
                <a:cxn ang="0">
                  <a:pos x="29" y="320"/>
                </a:cxn>
                <a:cxn ang="0">
                  <a:pos x="95" y="325"/>
                </a:cxn>
                <a:cxn ang="0">
                  <a:pos x="91" y="334"/>
                </a:cxn>
                <a:cxn ang="0">
                  <a:pos x="29" y="338"/>
                </a:cxn>
                <a:cxn ang="0">
                  <a:pos x="78" y="300"/>
                </a:cxn>
                <a:cxn ang="0">
                  <a:pos x="101" y="298"/>
                </a:cxn>
                <a:cxn ang="0">
                  <a:pos x="85" y="312"/>
                </a:cxn>
                <a:cxn ang="0">
                  <a:pos x="62" y="293"/>
                </a:cxn>
                <a:cxn ang="0">
                  <a:pos x="44" y="302"/>
                </a:cxn>
                <a:cxn ang="0">
                  <a:pos x="48" y="312"/>
                </a:cxn>
                <a:cxn ang="0">
                  <a:pos x="111" y="284"/>
                </a:cxn>
                <a:cxn ang="0">
                  <a:pos x="111" y="301"/>
                </a:cxn>
                <a:cxn ang="0">
                  <a:pos x="29" y="275"/>
                </a:cxn>
                <a:cxn ang="0">
                  <a:pos x="29" y="257"/>
                </a:cxn>
                <a:cxn ang="0">
                  <a:pos x="111" y="257"/>
                </a:cxn>
                <a:cxn ang="0">
                  <a:pos x="130" y="275"/>
                </a:cxn>
                <a:cxn ang="0">
                  <a:pos x="44" y="256"/>
                </a:cxn>
                <a:cxn ang="0">
                  <a:pos x="95" y="265"/>
                </a:cxn>
                <a:cxn ang="0">
                  <a:pos x="73" y="218"/>
                </a:cxn>
                <a:cxn ang="0">
                  <a:pos x="86" y="228"/>
                </a:cxn>
                <a:cxn ang="0">
                  <a:pos x="95" y="218"/>
                </a:cxn>
                <a:cxn ang="0">
                  <a:pos x="70" y="230"/>
                </a:cxn>
                <a:cxn ang="0">
                  <a:pos x="44" y="218"/>
                </a:cxn>
                <a:cxn ang="0">
                  <a:pos x="59" y="226"/>
                </a:cxn>
                <a:cxn ang="0">
                  <a:pos x="29" y="222"/>
                </a:cxn>
                <a:cxn ang="0">
                  <a:pos x="111" y="218"/>
                </a:cxn>
                <a:cxn ang="0">
                  <a:pos x="91" y="237"/>
                </a:cxn>
                <a:cxn ang="0">
                  <a:pos x="101" y="185"/>
                </a:cxn>
                <a:cxn ang="0">
                  <a:pos x="38" y="185"/>
                </a:cxn>
                <a:cxn ang="0">
                  <a:pos x="111" y="171"/>
                </a:cxn>
                <a:cxn ang="0">
                  <a:pos x="111" y="189"/>
                </a:cxn>
                <a:cxn ang="0">
                  <a:pos x="29" y="189"/>
                </a:cxn>
                <a:cxn ang="0">
                  <a:pos x="0" y="171"/>
                </a:cxn>
                <a:cxn ang="0">
                  <a:pos x="38" y="147"/>
                </a:cxn>
                <a:cxn ang="0">
                  <a:pos x="111" y="162"/>
                </a:cxn>
                <a:cxn ang="0">
                  <a:pos x="31" y="152"/>
                </a:cxn>
                <a:cxn ang="0">
                  <a:pos x="111" y="133"/>
                </a:cxn>
                <a:cxn ang="0">
                  <a:pos x="0" y="108"/>
                </a:cxn>
                <a:cxn ang="0">
                  <a:pos x="111" y="108"/>
                </a:cxn>
                <a:cxn ang="0">
                  <a:pos x="62" y="71"/>
                </a:cxn>
                <a:cxn ang="0">
                  <a:pos x="44" y="81"/>
                </a:cxn>
                <a:cxn ang="0">
                  <a:pos x="101" y="76"/>
                </a:cxn>
                <a:cxn ang="0">
                  <a:pos x="80" y="62"/>
                </a:cxn>
                <a:cxn ang="0">
                  <a:pos x="91" y="90"/>
                </a:cxn>
                <a:cxn ang="0">
                  <a:pos x="48" y="62"/>
                </a:cxn>
                <a:cxn ang="0">
                  <a:pos x="95" y="81"/>
                </a:cxn>
                <a:cxn ang="0">
                  <a:pos x="78" y="40"/>
                </a:cxn>
                <a:cxn ang="0">
                  <a:pos x="101" y="39"/>
                </a:cxn>
                <a:cxn ang="0">
                  <a:pos x="85" y="53"/>
                </a:cxn>
                <a:cxn ang="0">
                  <a:pos x="62" y="34"/>
                </a:cxn>
                <a:cxn ang="0">
                  <a:pos x="44" y="42"/>
                </a:cxn>
                <a:cxn ang="0">
                  <a:pos x="48" y="52"/>
                </a:cxn>
                <a:cxn ang="0">
                  <a:pos x="111" y="24"/>
                </a:cxn>
                <a:cxn ang="0">
                  <a:pos x="111" y="42"/>
                </a:cxn>
                <a:cxn ang="0">
                  <a:pos x="29" y="19"/>
                </a:cxn>
                <a:cxn ang="0">
                  <a:pos x="0" y="6"/>
                </a:cxn>
                <a:cxn ang="0">
                  <a:pos x="38" y="1"/>
                </a:cxn>
                <a:cxn ang="0">
                  <a:pos x="101" y="0"/>
                </a:cxn>
                <a:cxn ang="0">
                  <a:pos x="38" y="15"/>
                </a:cxn>
              </a:cxnLst>
              <a:rect l="0" t="0" r="r" b="b"/>
              <a:pathLst>
                <a:path w="130" h="338">
                  <a:moveTo>
                    <a:pt x="29" y="338"/>
                  </a:moveTo>
                  <a:cubicBezTo>
                    <a:pt x="29" y="334"/>
                    <a:pt x="29" y="334"/>
                    <a:pt x="29" y="334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29" y="325"/>
                    <a:pt x="29" y="325"/>
                    <a:pt x="29" y="325"/>
                  </a:cubicBezTo>
                  <a:cubicBezTo>
                    <a:pt x="29" y="320"/>
                    <a:pt x="29" y="320"/>
                    <a:pt x="29" y="320"/>
                  </a:cubicBezTo>
                  <a:cubicBezTo>
                    <a:pt x="38" y="320"/>
                    <a:pt x="38" y="320"/>
                    <a:pt x="38" y="320"/>
                  </a:cubicBezTo>
                  <a:cubicBezTo>
                    <a:pt x="38" y="325"/>
                    <a:pt x="38" y="325"/>
                    <a:pt x="38" y="325"/>
                  </a:cubicBezTo>
                  <a:cubicBezTo>
                    <a:pt x="95" y="325"/>
                    <a:pt x="95" y="325"/>
                    <a:pt x="95" y="325"/>
                  </a:cubicBezTo>
                  <a:cubicBezTo>
                    <a:pt x="99" y="325"/>
                    <a:pt x="101" y="323"/>
                    <a:pt x="101" y="320"/>
                  </a:cubicBezTo>
                  <a:cubicBezTo>
                    <a:pt x="111" y="320"/>
                    <a:pt x="111" y="320"/>
                    <a:pt x="111" y="320"/>
                  </a:cubicBezTo>
                  <a:cubicBezTo>
                    <a:pt x="111" y="329"/>
                    <a:pt x="104" y="334"/>
                    <a:pt x="91" y="334"/>
                  </a:cubicBezTo>
                  <a:cubicBezTo>
                    <a:pt x="38" y="334"/>
                    <a:pt x="38" y="334"/>
                    <a:pt x="38" y="334"/>
                  </a:cubicBezTo>
                  <a:cubicBezTo>
                    <a:pt x="38" y="338"/>
                    <a:pt x="38" y="338"/>
                    <a:pt x="38" y="338"/>
                  </a:cubicBezTo>
                  <a:lnTo>
                    <a:pt x="29" y="338"/>
                  </a:lnTo>
                  <a:close/>
                  <a:moveTo>
                    <a:pt x="73" y="293"/>
                  </a:moveTo>
                  <a:cubicBezTo>
                    <a:pt x="74" y="294"/>
                    <a:pt x="75" y="296"/>
                    <a:pt x="76" y="297"/>
                  </a:cubicBezTo>
                  <a:cubicBezTo>
                    <a:pt x="76" y="298"/>
                    <a:pt x="77" y="299"/>
                    <a:pt x="78" y="300"/>
                  </a:cubicBezTo>
                  <a:cubicBezTo>
                    <a:pt x="80" y="302"/>
                    <a:pt x="82" y="303"/>
                    <a:pt x="86" y="303"/>
                  </a:cubicBezTo>
                  <a:cubicBezTo>
                    <a:pt x="95" y="303"/>
                    <a:pt x="95" y="303"/>
                    <a:pt x="95" y="303"/>
                  </a:cubicBezTo>
                  <a:cubicBezTo>
                    <a:pt x="99" y="303"/>
                    <a:pt x="101" y="302"/>
                    <a:pt x="101" y="298"/>
                  </a:cubicBezTo>
                  <a:cubicBezTo>
                    <a:pt x="101" y="295"/>
                    <a:pt x="99" y="293"/>
                    <a:pt x="95" y="293"/>
                  </a:cubicBezTo>
                  <a:cubicBezTo>
                    <a:pt x="73" y="293"/>
                    <a:pt x="73" y="293"/>
                    <a:pt x="73" y="293"/>
                  </a:cubicBezTo>
                  <a:close/>
                  <a:moveTo>
                    <a:pt x="85" y="312"/>
                  </a:moveTo>
                  <a:cubicBezTo>
                    <a:pt x="79" y="312"/>
                    <a:pt x="73" y="310"/>
                    <a:pt x="70" y="305"/>
                  </a:cubicBezTo>
                  <a:cubicBezTo>
                    <a:pt x="68" y="303"/>
                    <a:pt x="67" y="301"/>
                    <a:pt x="66" y="298"/>
                  </a:cubicBezTo>
                  <a:cubicBezTo>
                    <a:pt x="64" y="297"/>
                    <a:pt x="63" y="295"/>
                    <a:pt x="62" y="293"/>
                  </a:cubicBezTo>
                  <a:cubicBezTo>
                    <a:pt x="44" y="293"/>
                    <a:pt x="44" y="293"/>
                    <a:pt x="44" y="293"/>
                  </a:cubicBezTo>
                  <a:cubicBezTo>
                    <a:pt x="40" y="293"/>
                    <a:pt x="38" y="295"/>
                    <a:pt x="38" y="298"/>
                  </a:cubicBezTo>
                  <a:cubicBezTo>
                    <a:pt x="38" y="301"/>
                    <a:pt x="40" y="302"/>
                    <a:pt x="44" y="302"/>
                  </a:cubicBezTo>
                  <a:cubicBezTo>
                    <a:pt x="59" y="302"/>
                    <a:pt x="59" y="302"/>
                    <a:pt x="59" y="302"/>
                  </a:cubicBezTo>
                  <a:cubicBezTo>
                    <a:pt x="59" y="312"/>
                    <a:pt x="59" y="312"/>
                    <a:pt x="59" y="312"/>
                  </a:cubicBezTo>
                  <a:cubicBezTo>
                    <a:pt x="48" y="312"/>
                    <a:pt x="48" y="312"/>
                    <a:pt x="48" y="312"/>
                  </a:cubicBezTo>
                  <a:cubicBezTo>
                    <a:pt x="35" y="312"/>
                    <a:pt x="29" y="307"/>
                    <a:pt x="29" y="298"/>
                  </a:cubicBezTo>
                  <a:cubicBezTo>
                    <a:pt x="29" y="288"/>
                    <a:pt x="35" y="284"/>
                    <a:pt x="48" y="284"/>
                  </a:cubicBezTo>
                  <a:cubicBezTo>
                    <a:pt x="111" y="284"/>
                    <a:pt x="111" y="284"/>
                    <a:pt x="111" y="284"/>
                  </a:cubicBezTo>
                  <a:cubicBezTo>
                    <a:pt x="111" y="293"/>
                    <a:pt x="111" y="293"/>
                    <a:pt x="111" y="293"/>
                  </a:cubicBezTo>
                  <a:cubicBezTo>
                    <a:pt x="107" y="293"/>
                    <a:pt x="107" y="293"/>
                    <a:pt x="107" y="293"/>
                  </a:cubicBezTo>
                  <a:cubicBezTo>
                    <a:pt x="109" y="295"/>
                    <a:pt x="111" y="298"/>
                    <a:pt x="111" y="301"/>
                  </a:cubicBezTo>
                  <a:cubicBezTo>
                    <a:pt x="111" y="309"/>
                    <a:pt x="104" y="312"/>
                    <a:pt x="91" y="312"/>
                  </a:cubicBezTo>
                  <a:cubicBezTo>
                    <a:pt x="85" y="312"/>
                    <a:pt x="85" y="312"/>
                    <a:pt x="85" y="312"/>
                  </a:cubicBezTo>
                  <a:close/>
                  <a:moveTo>
                    <a:pt x="29" y="275"/>
                  </a:moveTo>
                  <a:cubicBezTo>
                    <a:pt x="29" y="265"/>
                    <a:pt x="29" y="265"/>
                    <a:pt x="29" y="265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0" y="263"/>
                    <a:pt x="29" y="260"/>
                    <a:pt x="29" y="257"/>
                  </a:cubicBezTo>
                  <a:cubicBezTo>
                    <a:pt x="29" y="249"/>
                    <a:pt x="35" y="246"/>
                    <a:pt x="48" y="246"/>
                  </a:cubicBezTo>
                  <a:cubicBezTo>
                    <a:pt x="91" y="246"/>
                    <a:pt x="91" y="246"/>
                    <a:pt x="91" y="246"/>
                  </a:cubicBezTo>
                  <a:cubicBezTo>
                    <a:pt x="104" y="246"/>
                    <a:pt x="111" y="249"/>
                    <a:pt x="111" y="257"/>
                  </a:cubicBezTo>
                  <a:cubicBezTo>
                    <a:pt x="111" y="261"/>
                    <a:pt x="110" y="264"/>
                    <a:pt x="108" y="265"/>
                  </a:cubicBezTo>
                  <a:cubicBezTo>
                    <a:pt x="130" y="265"/>
                    <a:pt x="130" y="265"/>
                    <a:pt x="130" y="265"/>
                  </a:cubicBezTo>
                  <a:cubicBezTo>
                    <a:pt x="130" y="275"/>
                    <a:pt x="130" y="275"/>
                    <a:pt x="130" y="275"/>
                  </a:cubicBezTo>
                  <a:lnTo>
                    <a:pt x="29" y="275"/>
                  </a:lnTo>
                  <a:close/>
                  <a:moveTo>
                    <a:pt x="95" y="256"/>
                  </a:moveTo>
                  <a:cubicBezTo>
                    <a:pt x="44" y="256"/>
                    <a:pt x="44" y="256"/>
                    <a:pt x="44" y="256"/>
                  </a:cubicBezTo>
                  <a:cubicBezTo>
                    <a:pt x="40" y="256"/>
                    <a:pt x="38" y="257"/>
                    <a:pt x="38" y="261"/>
                  </a:cubicBezTo>
                  <a:cubicBezTo>
                    <a:pt x="38" y="264"/>
                    <a:pt x="40" y="265"/>
                    <a:pt x="44" y="265"/>
                  </a:cubicBezTo>
                  <a:cubicBezTo>
                    <a:pt x="95" y="265"/>
                    <a:pt x="95" y="265"/>
                    <a:pt x="95" y="265"/>
                  </a:cubicBezTo>
                  <a:cubicBezTo>
                    <a:pt x="99" y="265"/>
                    <a:pt x="101" y="264"/>
                    <a:pt x="101" y="261"/>
                  </a:cubicBezTo>
                  <a:cubicBezTo>
                    <a:pt x="101" y="257"/>
                    <a:pt x="99" y="256"/>
                    <a:pt x="95" y="256"/>
                  </a:cubicBezTo>
                  <a:close/>
                  <a:moveTo>
                    <a:pt x="73" y="218"/>
                  </a:moveTo>
                  <a:cubicBezTo>
                    <a:pt x="74" y="219"/>
                    <a:pt x="75" y="220"/>
                    <a:pt x="76" y="221"/>
                  </a:cubicBezTo>
                  <a:cubicBezTo>
                    <a:pt x="76" y="222"/>
                    <a:pt x="77" y="224"/>
                    <a:pt x="78" y="225"/>
                  </a:cubicBezTo>
                  <a:cubicBezTo>
                    <a:pt x="80" y="226"/>
                    <a:pt x="82" y="228"/>
                    <a:pt x="86" y="228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9" y="228"/>
                    <a:pt x="101" y="226"/>
                    <a:pt x="101" y="223"/>
                  </a:cubicBezTo>
                  <a:cubicBezTo>
                    <a:pt x="101" y="220"/>
                    <a:pt x="99" y="218"/>
                    <a:pt x="95" y="218"/>
                  </a:cubicBezTo>
                  <a:cubicBezTo>
                    <a:pt x="73" y="218"/>
                    <a:pt x="73" y="218"/>
                    <a:pt x="73" y="218"/>
                  </a:cubicBezTo>
                  <a:close/>
                  <a:moveTo>
                    <a:pt x="85" y="237"/>
                  </a:moveTo>
                  <a:cubicBezTo>
                    <a:pt x="79" y="237"/>
                    <a:pt x="73" y="235"/>
                    <a:pt x="70" y="230"/>
                  </a:cubicBezTo>
                  <a:cubicBezTo>
                    <a:pt x="68" y="227"/>
                    <a:pt x="67" y="225"/>
                    <a:pt x="66" y="223"/>
                  </a:cubicBezTo>
                  <a:cubicBezTo>
                    <a:pt x="64" y="221"/>
                    <a:pt x="63" y="220"/>
                    <a:pt x="62" y="218"/>
                  </a:cubicBezTo>
                  <a:cubicBezTo>
                    <a:pt x="44" y="218"/>
                    <a:pt x="44" y="218"/>
                    <a:pt x="44" y="218"/>
                  </a:cubicBezTo>
                  <a:cubicBezTo>
                    <a:pt x="40" y="218"/>
                    <a:pt x="38" y="220"/>
                    <a:pt x="38" y="222"/>
                  </a:cubicBezTo>
                  <a:cubicBezTo>
                    <a:pt x="38" y="225"/>
                    <a:pt x="40" y="226"/>
                    <a:pt x="44" y="226"/>
                  </a:cubicBezTo>
                  <a:cubicBezTo>
                    <a:pt x="59" y="226"/>
                    <a:pt x="59" y="226"/>
                    <a:pt x="59" y="226"/>
                  </a:cubicBezTo>
                  <a:cubicBezTo>
                    <a:pt x="59" y="236"/>
                    <a:pt x="59" y="236"/>
                    <a:pt x="59" y="236"/>
                  </a:cubicBezTo>
                  <a:cubicBezTo>
                    <a:pt x="48" y="236"/>
                    <a:pt x="48" y="236"/>
                    <a:pt x="48" y="236"/>
                  </a:cubicBezTo>
                  <a:cubicBezTo>
                    <a:pt x="35" y="236"/>
                    <a:pt x="29" y="231"/>
                    <a:pt x="29" y="222"/>
                  </a:cubicBezTo>
                  <a:cubicBezTo>
                    <a:pt x="29" y="213"/>
                    <a:pt x="35" y="208"/>
                    <a:pt x="48" y="208"/>
                  </a:cubicBezTo>
                  <a:cubicBezTo>
                    <a:pt x="111" y="208"/>
                    <a:pt x="111" y="208"/>
                    <a:pt x="111" y="208"/>
                  </a:cubicBezTo>
                  <a:cubicBezTo>
                    <a:pt x="111" y="218"/>
                    <a:pt x="111" y="218"/>
                    <a:pt x="111" y="218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09" y="220"/>
                    <a:pt x="111" y="222"/>
                    <a:pt x="111" y="226"/>
                  </a:cubicBezTo>
                  <a:cubicBezTo>
                    <a:pt x="111" y="233"/>
                    <a:pt x="104" y="237"/>
                    <a:pt x="91" y="237"/>
                  </a:cubicBezTo>
                  <a:cubicBezTo>
                    <a:pt x="85" y="237"/>
                    <a:pt x="85" y="237"/>
                    <a:pt x="85" y="237"/>
                  </a:cubicBezTo>
                  <a:close/>
                  <a:moveTo>
                    <a:pt x="95" y="190"/>
                  </a:moveTo>
                  <a:cubicBezTo>
                    <a:pt x="99" y="190"/>
                    <a:pt x="101" y="188"/>
                    <a:pt x="101" y="185"/>
                  </a:cubicBezTo>
                  <a:cubicBezTo>
                    <a:pt x="101" y="181"/>
                    <a:pt x="99" y="180"/>
                    <a:pt x="95" y="180"/>
                  </a:cubicBezTo>
                  <a:cubicBezTo>
                    <a:pt x="44" y="180"/>
                    <a:pt x="44" y="180"/>
                    <a:pt x="44" y="180"/>
                  </a:cubicBezTo>
                  <a:cubicBezTo>
                    <a:pt x="40" y="180"/>
                    <a:pt x="38" y="181"/>
                    <a:pt x="38" y="185"/>
                  </a:cubicBezTo>
                  <a:cubicBezTo>
                    <a:pt x="38" y="188"/>
                    <a:pt x="40" y="190"/>
                    <a:pt x="44" y="190"/>
                  </a:cubicBezTo>
                  <a:lnTo>
                    <a:pt x="95" y="190"/>
                  </a:lnTo>
                  <a:close/>
                  <a:moveTo>
                    <a:pt x="111" y="171"/>
                  </a:moveTo>
                  <a:cubicBezTo>
                    <a:pt x="111" y="180"/>
                    <a:pt x="111" y="180"/>
                    <a:pt x="111" y="180"/>
                  </a:cubicBezTo>
                  <a:cubicBezTo>
                    <a:pt x="107" y="180"/>
                    <a:pt x="107" y="180"/>
                    <a:pt x="107" y="180"/>
                  </a:cubicBezTo>
                  <a:cubicBezTo>
                    <a:pt x="109" y="183"/>
                    <a:pt x="111" y="185"/>
                    <a:pt x="111" y="189"/>
                  </a:cubicBezTo>
                  <a:cubicBezTo>
                    <a:pt x="111" y="196"/>
                    <a:pt x="104" y="199"/>
                    <a:pt x="91" y="199"/>
                  </a:cubicBezTo>
                  <a:cubicBezTo>
                    <a:pt x="48" y="199"/>
                    <a:pt x="48" y="199"/>
                    <a:pt x="48" y="199"/>
                  </a:cubicBezTo>
                  <a:cubicBezTo>
                    <a:pt x="35" y="199"/>
                    <a:pt x="29" y="196"/>
                    <a:pt x="29" y="189"/>
                  </a:cubicBezTo>
                  <a:cubicBezTo>
                    <a:pt x="29" y="184"/>
                    <a:pt x="30" y="181"/>
                    <a:pt x="31" y="18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71"/>
                    <a:pt x="0" y="171"/>
                    <a:pt x="0" y="171"/>
                  </a:cubicBezTo>
                  <a:lnTo>
                    <a:pt x="111" y="171"/>
                  </a:lnTo>
                  <a:close/>
                  <a:moveTo>
                    <a:pt x="44" y="142"/>
                  </a:moveTo>
                  <a:cubicBezTo>
                    <a:pt x="40" y="142"/>
                    <a:pt x="38" y="144"/>
                    <a:pt x="38" y="147"/>
                  </a:cubicBezTo>
                  <a:cubicBezTo>
                    <a:pt x="38" y="151"/>
                    <a:pt x="40" y="152"/>
                    <a:pt x="44" y="152"/>
                  </a:cubicBezTo>
                  <a:cubicBezTo>
                    <a:pt x="111" y="152"/>
                    <a:pt x="111" y="152"/>
                    <a:pt x="111" y="152"/>
                  </a:cubicBezTo>
                  <a:cubicBezTo>
                    <a:pt x="111" y="162"/>
                    <a:pt x="111" y="162"/>
                    <a:pt x="111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31" y="152"/>
                    <a:pt x="31" y="152"/>
                    <a:pt x="31" y="152"/>
                  </a:cubicBezTo>
                  <a:cubicBezTo>
                    <a:pt x="29" y="151"/>
                    <a:pt x="29" y="148"/>
                    <a:pt x="29" y="144"/>
                  </a:cubicBezTo>
                  <a:cubicBezTo>
                    <a:pt x="29" y="137"/>
                    <a:pt x="35" y="133"/>
                    <a:pt x="48" y="133"/>
                  </a:cubicBezTo>
                  <a:cubicBezTo>
                    <a:pt x="111" y="133"/>
                    <a:pt x="111" y="133"/>
                    <a:pt x="111" y="133"/>
                  </a:cubicBezTo>
                  <a:cubicBezTo>
                    <a:pt x="111" y="142"/>
                    <a:pt x="111" y="142"/>
                    <a:pt x="111" y="142"/>
                  </a:cubicBezTo>
                  <a:lnTo>
                    <a:pt x="44" y="142"/>
                  </a:lnTo>
                  <a:close/>
                  <a:moveTo>
                    <a:pt x="0" y="108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111" y="98"/>
                    <a:pt x="111" y="98"/>
                    <a:pt x="111" y="98"/>
                  </a:cubicBezTo>
                  <a:cubicBezTo>
                    <a:pt x="111" y="108"/>
                    <a:pt x="111" y="108"/>
                    <a:pt x="111" y="108"/>
                  </a:cubicBezTo>
                  <a:lnTo>
                    <a:pt x="0" y="108"/>
                  </a:lnTo>
                  <a:close/>
                  <a:moveTo>
                    <a:pt x="62" y="8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0" y="71"/>
                    <a:pt x="38" y="73"/>
                    <a:pt x="38" y="76"/>
                  </a:cubicBezTo>
                  <a:cubicBezTo>
                    <a:pt x="38" y="79"/>
                    <a:pt x="40" y="81"/>
                    <a:pt x="44" y="81"/>
                  </a:cubicBezTo>
                  <a:lnTo>
                    <a:pt x="62" y="81"/>
                  </a:lnTo>
                  <a:close/>
                  <a:moveTo>
                    <a:pt x="95" y="81"/>
                  </a:moveTo>
                  <a:cubicBezTo>
                    <a:pt x="99" y="81"/>
                    <a:pt x="101" y="79"/>
                    <a:pt x="101" y="76"/>
                  </a:cubicBezTo>
                  <a:cubicBezTo>
                    <a:pt x="101" y="73"/>
                    <a:pt x="99" y="71"/>
                    <a:pt x="95" y="71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104" y="62"/>
                    <a:pt x="111" y="66"/>
                    <a:pt x="111" y="76"/>
                  </a:cubicBezTo>
                  <a:cubicBezTo>
                    <a:pt x="111" y="86"/>
                    <a:pt x="104" y="90"/>
                    <a:pt x="91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35" y="90"/>
                    <a:pt x="29" y="86"/>
                    <a:pt x="29" y="76"/>
                  </a:cubicBezTo>
                  <a:cubicBezTo>
                    <a:pt x="29" y="67"/>
                    <a:pt x="35" y="62"/>
                    <a:pt x="48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81"/>
                    <a:pt x="71" y="81"/>
                    <a:pt x="71" y="81"/>
                  </a:cubicBezTo>
                  <a:lnTo>
                    <a:pt x="95" y="81"/>
                  </a:lnTo>
                  <a:close/>
                  <a:moveTo>
                    <a:pt x="73" y="34"/>
                  </a:moveTo>
                  <a:cubicBezTo>
                    <a:pt x="74" y="35"/>
                    <a:pt x="75" y="36"/>
                    <a:pt x="76" y="37"/>
                  </a:cubicBezTo>
                  <a:cubicBezTo>
                    <a:pt x="76" y="38"/>
                    <a:pt x="77" y="39"/>
                    <a:pt x="78" y="40"/>
                  </a:cubicBezTo>
                  <a:cubicBezTo>
                    <a:pt x="80" y="42"/>
                    <a:pt x="82" y="43"/>
                    <a:pt x="86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9" y="43"/>
                    <a:pt x="101" y="42"/>
                    <a:pt x="101" y="39"/>
                  </a:cubicBezTo>
                  <a:cubicBezTo>
                    <a:pt x="101" y="35"/>
                    <a:pt x="99" y="34"/>
                    <a:pt x="95" y="34"/>
                  </a:cubicBezTo>
                  <a:lnTo>
                    <a:pt x="73" y="34"/>
                  </a:lnTo>
                  <a:close/>
                  <a:moveTo>
                    <a:pt x="85" y="53"/>
                  </a:moveTo>
                  <a:cubicBezTo>
                    <a:pt x="79" y="53"/>
                    <a:pt x="73" y="51"/>
                    <a:pt x="70" y="45"/>
                  </a:cubicBezTo>
                  <a:cubicBezTo>
                    <a:pt x="68" y="43"/>
                    <a:pt x="67" y="40"/>
                    <a:pt x="66" y="39"/>
                  </a:cubicBezTo>
                  <a:cubicBezTo>
                    <a:pt x="64" y="37"/>
                    <a:pt x="63" y="35"/>
                    <a:pt x="62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0" y="34"/>
                    <a:pt x="38" y="35"/>
                    <a:pt x="38" y="38"/>
                  </a:cubicBezTo>
                  <a:cubicBezTo>
                    <a:pt x="38" y="41"/>
                    <a:pt x="40" y="42"/>
                    <a:pt x="44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35" y="52"/>
                    <a:pt x="29" y="47"/>
                    <a:pt x="29" y="38"/>
                  </a:cubicBezTo>
                  <a:cubicBezTo>
                    <a:pt x="29" y="29"/>
                    <a:pt x="35" y="24"/>
                    <a:pt x="48" y="24"/>
                  </a:cubicBezTo>
                  <a:cubicBezTo>
                    <a:pt x="111" y="24"/>
                    <a:pt x="111" y="24"/>
                    <a:pt x="111" y="24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9" y="35"/>
                    <a:pt x="111" y="38"/>
                    <a:pt x="111" y="42"/>
                  </a:cubicBezTo>
                  <a:cubicBezTo>
                    <a:pt x="111" y="49"/>
                    <a:pt x="104" y="53"/>
                    <a:pt x="91" y="53"/>
                  </a:cubicBezTo>
                  <a:lnTo>
                    <a:pt x="85" y="53"/>
                  </a:lnTo>
                  <a:close/>
                  <a:moveTo>
                    <a:pt x="29" y="19"/>
                  </a:moveTo>
                  <a:cubicBezTo>
                    <a:pt x="29" y="15"/>
                    <a:pt x="29" y="15"/>
                    <a:pt x="29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9" y="6"/>
                    <a:pt x="101" y="4"/>
                    <a:pt x="10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04" y="15"/>
                    <a:pt x="91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29" y="19"/>
                    <a:pt x="29" y="19"/>
                    <a:pt x="29" y="1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3514727" y="3690155"/>
              <a:ext cx="1063625" cy="23455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18" y="28"/>
                </a:cxn>
                <a:cxn ang="0">
                  <a:pos x="14" y="95"/>
                </a:cxn>
                <a:cxn ang="0">
                  <a:pos x="4" y="91"/>
                </a:cxn>
                <a:cxn ang="0">
                  <a:pos x="0" y="28"/>
                </a:cxn>
                <a:cxn ang="0">
                  <a:pos x="45" y="44"/>
                </a:cxn>
                <a:cxn ang="0">
                  <a:pos x="35" y="62"/>
                </a:cxn>
                <a:cxn ang="0">
                  <a:pos x="45" y="95"/>
                </a:cxn>
                <a:cxn ang="0">
                  <a:pos x="55" y="91"/>
                </a:cxn>
                <a:cxn ang="0">
                  <a:pos x="26" y="48"/>
                </a:cxn>
                <a:cxn ang="0">
                  <a:pos x="55" y="72"/>
                </a:cxn>
                <a:cxn ang="0">
                  <a:pos x="73" y="32"/>
                </a:cxn>
                <a:cxn ang="0">
                  <a:pos x="78" y="39"/>
                </a:cxn>
                <a:cxn ang="0">
                  <a:pos x="63" y="111"/>
                </a:cxn>
                <a:cxn ang="0">
                  <a:pos x="73" y="32"/>
                </a:cxn>
                <a:cxn ang="0">
                  <a:pos x="87" y="0"/>
                </a:cxn>
                <a:cxn ang="0">
                  <a:pos x="97" y="111"/>
                </a:cxn>
                <a:cxn ang="0">
                  <a:pos x="97" y="28"/>
                </a:cxn>
                <a:cxn ang="0">
                  <a:pos x="140" y="39"/>
                </a:cxn>
                <a:cxn ang="0">
                  <a:pos x="126" y="111"/>
                </a:cxn>
                <a:cxn ang="0">
                  <a:pos x="116" y="44"/>
                </a:cxn>
                <a:cxn ang="0">
                  <a:pos x="106" y="28"/>
                </a:cxn>
                <a:cxn ang="0">
                  <a:pos x="123" y="28"/>
                </a:cxn>
                <a:cxn ang="0">
                  <a:pos x="154" y="48"/>
                </a:cxn>
                <a:cxn ang="0">
                  <a:pos x="145" y="44"/>
                </a:cxn>
                <a:cxn ang="0">
                  <a:pos x="176" y="78"/>
                </a:cxn>
                <a:cxn ang="0">
                  <a:pos x="177" y="102"/>
                </a:cxn>
                <a:cxn ang="0">
                  <a:pos x="163" y="85"/>
                </a:cxn>
                <a:cxn ang="0">
                  <a:pos x="182" y="62"/>
                </a:cxn>
                <a:cxn ang="0">
                  <a:pos x="174" y="44"/>
                </a:cxn>
                <a:cxn ang="0">
                  <a:pos x="164" y="48"/>
                </a:cxn>
                <a:cxn ang="0">
                  <a:pos x="192" y="111"/>
                </a:cxn>
                <a:cxn ang="0">
                  <a:pos x="175" y="111"/>
                </a:cxn>
                <a:cxn ang="0">
                  <a:pos x="218" y="0"/>
                </a:cxn>
                <a:cxn ang="0">
                  <a:pos x="230" y="59"/>
                </a:cxn>
                <a:cxn ang="0">
                  <a:pos x="236" y="70"/>
                </a:cxn>
                <a:cxn ang="0">
                  <a:pos x="230" y="81"/>
                </a:cxn>
                <a:cxn ang="0">
                  <a:pos x="218" y="111"/>
                </a:cxn>
                <a:cxn ang="0">
                  <a:pos x="271" y="76"/>
                </a:cxn>
                <a:cxn ang="0">
                  <a:pos x="265" y="95"/>
                </a:cxn>
                <a:cxn ang="0">
                  <a:pos x="275" y="74"/>
                </a:cxn>
                <a:cxn ang="0">
                  <a:pos x="270" y="66"/>
                </a:cxn>
                <a:cxn ang="0">
                  <a:pos x="270" y="39"/>
                </a:cxn>
                <a:cxn ang="0">
                  <a:pos x="256" y="59"/>
                </a:cxn>
                <a:cxn ang="0">
                  <a:pos x="284" y="48"/>
                </a:cxn>
                <a:cxn ang="0">
                  <a:pos x="275" y="108"/>
                </a:cxn>
                <a:cxn ang="0">
                  <a:pos x="255" y="85"/>
                </a:cxn>
                <a:cxn ang="0">
                  <a:pos x="302" y="44"/>
                </a:cxn>
                <a:cxn ang="0">
                  <a:pos x="320" y="90"/>
                </a:cxn>
                <a:cxn ang="0">
                  <a:pos x="292" y="86"/>
                </a:cxn>
                <a:cxn ang="0">
                  <a:pos x="305" y="102"/>
                </a:cxn>
                <a:cxn ang="0">
                  <a:pos x="301" y="72"/>
                </a:cxn>
                <a:cxn ang="0">
                  <a:pos x="319" y="50"/>
                </a:cxn>
                <a:cxn ang="0">
                  <a:pos x="309" y="44"/>
                </a:cxn>
                <a:cxn ang="0">
                  <a:pos x="327" y="0"/>
                </a:cxn>
                <a:cxn ang="0">
                  <a:pos x="336" y="111"/>
                </a:cxn>
                <a:cxn ang="0">
                  <a:pos x="336" y="28"/>
                </a:cxn>
                <a:cxn ang="0">
                  <a:pos x="360" y="39"/>
                </a:cxn>
                <a:cxn ang="0">
                  <a:pos x="345" y="111"/>
                </a:cxn>
                <a:cxn ang="0">
                  <a:pos x="355" y="32"/>
                </a:cxn>
                <a:cxn ang="0">
                  <a:pos x="375" y="111"/>
                </a:cxn>
              </a:cxnLst>
              <a:rect l="0" t="0" r="r" b="b"/>
              <a:pathLst>
                <a:path w="375" h="111">
                  <a:moveTo>
                    <a:pt x="0" y="28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9"/>
                    <a:pt x="16" y="101"/>
                    <a:pt x="19" y="10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9" y="111"/>
                    <a:pt x="4" y="105"/>
                    <a:pt x="4" y="9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28"/>
                    <a:pt x="0" y="28"/>
                    <a:pt x="0" y="28"/>
                  </a:cubicBezTo>
                  <a:close/>
                  <a:moveTo>
                    <a:pt x="35" y="62"/>
                  </a:moveTo>
                  <a:cubicBezTo>
                    <a:pt x="45" y="62"/>
                    <a:pt x="45" y="62"/>
                    <a:pt x="45" y="62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0"/>
                    <a:pt x="43" y="39"/>
                    <a:pt x="40" y="39"/>
                  </a:cubicBezTo>
                  <a:cubicBezTo>
                    <a:pt x="37" y="39"/>
                    <a:pt x="35" y="40"/>
                    <a:pt x="35" y="44"/>
                  </a:cubicBezTo>
                  <a:cubicBezTo>
                    <a:pt x="35" y="62"/>
                    <a:pt x="35" y="62"/>
                    <a:pt x="35" y="62"/>
                  </a:cubicBezTo>
                  <a:close/>
                  <a:moveTo>
                    <a:pt x="35" y="95"/>
                  </a:moveTo>
                  <a:cubicBezTo>
                    <a:pt x="35" y="99"/>
                    <a:pt x="37" y="102"/>
                    <a:pt x="40" y="102"/>
                  </a:cubicBezTo>
                  <a:cubicBezTo>
                    <a:pt x="44" y="102"/>
                    <a:pt x="45" y="99"/>
                    <a:pt x="45" y="95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104"/>
                    <a:pt x="50" y="111"/>
                    <a:pt x="40" y="111"/>
                  </a:cubicBezTo>
                  <a:cubicBezTo>
                    <a:pt x="31" y="111"/>
                    <a:pt x="26" y="105"/>
                    <a:pt x="26" y="91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35"/>
                    <a:pt x="31" y="28"/>
                    <a:pt x="40" y="28"/>
                  </a:cubicBezTo>
                  <a:cubicBezTo>
                    <a:pt x="50" y="28"/>
                    <a:pt x="55" y="35"/>
                    <a:pt x="55" y="48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5" y="95"/>
                    <a:pt x="35" y="95"/>
                    <a:pt x="35" y="95"/>
                  </a:cubicBezTo>
                  <a:close/>
                  <a:moveTo>
                    <a:pt x="73" y="32"/>
                  </a:moveTo>
                  <a:cubicBezTo>
                    <a:pt x="74" y="30"/>
                    <a:pt x="77" y="28"/>
                    <a:pt x="81" y="28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39"/>
                    <a:pt x="80" y="39"/>
                    <a:pt x="78" y="39"/>
                  </a:cubicBezTo>
                  <a:cubicBezTo>
                    <a:pt x="75" y="39"/>
                    <a:pt x="73" y="40"/>
                    <a:pt x="73" y="44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73" y="28"/>
                    <a:pt x="73" y="28"/>
                    <a:pt x="73" y="28"/>
                  </a:cubicBezTo>
                  <a:lnTo>
                    <a:pt x="73" y="32"/>
                  </a:lnTo>
                  <a:close/>
                  <a:moveTo>
                    <a:pt x="97" y="15"/>
                  </a:moveTo>
                  <a:cubicBezTo>
                    <a:pt x="87" y="15"/>
                    <a:pt x="87" y="15"/>
                    <a:pt x="87" y="15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15"/>
                  </a:lnTo>
                  <a:close/>
                  <a:moveTo>
                    <a:pt x="97" y="111"/>
                  </a:moveTo>
                  <a:cubicBezTo>
                    <a:pt x="87" y="111"/>
                    <a:pt x="87" y="111"/>
                    <a:pt x="87" y="111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97" y="28"/>
                    <a:pt x="97" y="28"/>
                    <a:pt x="97" y="28"/>
                  </a:cubicBezTo>
                  <a:lnTo>
                    <a:pt x="97" y="111"/>
                  </a:lnTo>
                  <a:close/>
                  <a:moveTo>
                    <a:pt x="145" y="44"/>
                  </a:moveTo>
                  <a:cubicBezTo>
                    <a:pt x="145" y="40"/>
                    <a:pt x="143" y="39"/>
                    <a:pt x="140" y="39"/>
                  </a:cubicBezTo>
                  <a:cubicBezTo>
                    <a:pt x="137" y="39"/>
                    <a:pt x="135" y="40"/>
                    <a:pt x="135" y="44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26" y="111"/>
                    <a:pt x="126" y="111"/>
                    <a:pt x="126" y="111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0"/>
                    <a:pt x="124" y="39"/>
                    <a:pt x="121" y="39"/>
                  </a:cubicBezTo>
                  <a:cubicBezTo>
                    <a:pt x="117" y="39"/>
                    <a:pt x="116" y="40"/>
                    <a:pt x="116" y="44"/>
                  </a:cubicBezTo>
                  <a:cubicBezTo>
                    <a:pt x="116" y="111"/>
                    <a:pt x="116" y="111"/>
                    <a:pt x="116" y="111"/>
                  </a:cubicBezTo>
                  <a:cubicBezTo>
                    <a:pt x="106" y="111"/>
                    <a:pt x="106" y="111"/>
                    <a:pt x="106" y="111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7" y="30"/>
                    <a:pt x="120" y="28"/>
                    <a:pt x="123" y="28"/>
                  </a:cubicBezTo>
                  <a:cubicBezTo>
                    <a:pt x="127" y="28"/>
                    <a:pt x="131" y="30"/>
                    <a:pt x="133" y="34"/>
                  </a:cubicBezTo>
                  <a:cubicBezTo>
                    <a:pt x="135" y="30"/>
                    <a:pt x="138" y="28"/>
                    <a:pt x="143" y="28"/>
                  </a:cubicBezTo>
                  <a:cubicBezTo>
                    <a:pt x="150" y="28"/>
                    <a:pt x="154" y="35"/>
                    <a:pt x="154" y="48"/>
                  </a:cubicBezTo>
                  <a:cubicBezTo>
                    <a:pt x="154" y="111"/>
                    <a:pt x="154" y="111"/>
                    <a:pt x="154" y="111"/>
                  </a:cubicBezTo>
                  <a:cubicBezTo>
                    <a:pt x="145" y="111"/>
                    <a:pt x="145" y="111"/>
                    <a:pt x="145" y="111"/>
                  </a:cubicBezTo>
                  <a:cubicBezTo>
                    <a:pt x="145" y="44"/>
                    <a:pt x="145" y="44"/>
                    <a:pt x="145" y="44"/>
                  </a:cubicBezTo>
                  <a:close/>
                  <a:moveTo>
                    <a:pt x="182" y="74"/>
                  </a:moveTo>
                  <a:cubicBezTo>
                    <a:pt x="181" y="75"/>
                    <a:pt x="180" y="75"/>
                    <a:pt x="179" y="76"/>
                  </a:cubicBezTo>
                  <a:cubicBezTo>
                    <a:pt x="178" y="77"/>
                    <a:pt x="177" y="77"/>
                    <a:pt x="176" y="78"/>
                  </a:cubicBezTo>
                  <a:cubicBezTo>
                    <a:pt x="174" y="80"/>
                    <a:pt x="173" y="82"/>
                    <a:pt x="173" y="86"/>
                  </a:cubicBezTo>
                  <a:cubicBezTo>
                    <a:pt x="173" y="95"/>
                    <a:pt x="173" y="95"/>
                    <a:pt x="173" y="95"/>
                  </a:cubicBezTo>
                  <a:cubicBezTo>
                    <a:pt x="173" y="99"/>
                    <a:pt x="174" y="102"/>
                    <a:pt x="177" y="102"/>
                  </a:cubicBezTo>
                  <a:cubicBezTo>
                    <a:pt x="181" y="102"/>
                    <a:pt x="182" y="99"/>
                    <a:pt x="182" y="95"/>
                  </a:cubicBezTo>
                  <a:cubicBezTo>
                    <a:pt x="182" y="74"/>
                    <a:pt x="182" y="74"/>
                    <a:pt x="182" y="74"/>
                  </a:cubicBezTo>
                  <a:close/>
                  <a:moveTo>
                    <a:pt x="163" y="85"/>
                  </a:moveTo>
                  <a:cubicBezTo>
                    <a:pt x="163" y="79"/>
                    <a:pt x="166" y="74"/>
                    <a:pt x="171" y="71"/>
                  </a:cubicBezTo>
                  <a:cubicBezTo>
                    <a:pt x="173" y="69"/>
                    <a:pt x="175" y="67"/>
                    <a:pt x="177" y="66"/>
                  </a:cubicBezTo>
                  <a:cubicBezTo>
                    <a:pt x="179" y="64"/>
                    <a:pt x="181" y="63"/>
                    <a:pt x="182" y="62"/>
                  </a:cubicBezTo>
                  <a:cubicBezTo>
                    <a:pt x="182" y="44"/>
                    <a:pt x="182" y="44"/>
                    <a:pt x="182" y="44"/>
                  </a:cubicBezTo>
                  <a:cubicBezTo>
                    <a:pt x="182" y="40"/>
                    <a:pt x="181" y="39"/>
                    <a:pt x="178" y="39"/>
                  </a:cubicBezTo>
                  <a:cubicBezTo>
                    <a:pt x="175" y="39"/>
                    <a:pt x="174" y="40"/>
                    <a:pt x="174" y="44"/>
                  </a:cubicBezTo>
                  <a:cubicBezTo>
                    <a:pt x="174" y="59"/>
                    <a:pt x="174" y="59"/>
                    <a:pt x="174" y="59"/>
                  </a:cubicBezTo>
                  <a:cubicBezTo>
                    <a:pt x="164" y="59"/>
                    <a:pt x="164" y="59"/>
                    <a:pt x="164" y="59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35"/>
                    <a:pt x="169" y="28"/>
                    <a:pt x="178" y="28"/>
                  </a:cubicBezTo>
                  <a:cubicBezTo>
                    <a:pt x="188" y="28"/>
                    <a:pt x="192" y="35"/>
                    <a:pt x="192" y="48"/>
                  </a:cubicBezTo>
                  <a:cubicBezTo>
                    <a:pt x="192" y="111"/>
                    <a:pt x="192" y="111"/>
                    <a:pt x="192" y="111"/>
                  </a:cubicBezTo>
                  <a:cubicBezTo>
                    <a:pt x="182" y="111"/>
                    <a:pt x="182" y="111"/>
                    <a:pt x="182" y="111"/>
                  </a:cubicBezTo>
                  <a:cubicBezTo>
                    <a:pt x="182" y="108"/>
                    <a:pt x="182" y="108"/>
                    <a:pt x="182" y="108"/>
                  </a:cubicBezTo>
                  <a:cubicBezTo>
                    <a:pt x="181" y="110"/>
                    <a:pt x="178" y="111"/>
                    <a:pt x="175" y="111"/>
                  </a:cubicBezTo>
                  <a:cubicBezTo>
                    <a:pt x="167" y="111"/>
                    <a:pt x="163" y="105"/>
                    <a:pt x="163" y="91"/>
                  </a:cubicBezTo>
                  <a:cubicBezTo>
                    <a:pt x="163" y="85"/>
                    <a:pt x="163" y="85"/>
                    <a:pt x="163" y="85"/>
                  </a:cubicBezTo>
                  <a:close/>
                  <a:moveTo>
                    <a:pt x="218" y="0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227" y="67"/>
                    <a:pt x="227" y="67"/>
                    <a:pt x="227" y="67"/>
                  </a:cubicBezTo>
                  <a:cubicBezTo>
                    <a:pt x="230" y="59"/>
                    <a:pt x="230" y="59"/>
                    <a:pt x="230" y="59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36" y="70"/>
                    <a:pt x="236" y="70"/>
                    <a:pt x="236" y="70"/>
                  </a:cubicBezTo>
                  <a:cubicBezTo>
                    <a:pt x="250" y="111"/>
                    <a:pt x="250" y="111"/>
                    <a:pt x="250" y="111"/>
                  </a:cubicBezTo>
                  <a:cubicBezTo>
                    <a:pt x="240" y="111"/>
                    <a:pt x="240" y="111"/>
                    <a:pt x="240" y="111"/>
                  </a:cubicBezTo>
                  <a:cubicBezTo>
                    <a:pt x="230" y="81"/>
                    <a:pt x="230" y="81"/>
                    <a:pt x="230" y="81"/>
                  </a:cubicBezTo>
                  <a:cubicBezTo>
                    <a:pt x="227" y="73"/>
                    <a:pt x="227" y="73"/>
                    <a:pt x="227" y="73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18" y="111"/>
                    <a:pt x="218" y="111"/>
                    <a:pt x="218" y="111"/>
                  </a:cubicBezTo>
                  <a:cubicBezTo>
                    <a:pt x="218" y="0"/>
                    <a:pt x="218" y="0"/>
                    <a:pt x="218" y="0"/>
                  </a:cubicBezTo>
                  <a:close/>
                  <a:moveTo>
                    <a:pt x="275" y="74"/>
                  </a:moveTo>
                  <a:cubicBezTo>
                    <a:pt x="273" y="75"/>
                    <a:pt x="272" y="75"/>
                    <a:pt x="271" y="76"/>
                  </a:cubicBezTo>
                  <a:cubicBezTo>
                    <a:pt x="270" y="77"/>
                    <a:pt x="269" y="77"/>
                    <a:pt x="268" y="78"/>
                  </a:cubicBezTo>
                  <a:cubicBezTo>
                    <a:pt x="266" y="80"/>
                    <a:pt x="265" y="82"/>
                    <a:pt x="265" y="86"/>
                  </a:cubicBezTo>
                  <a:cubicBezTo>
                    <a:pt x="265" y="95"/>
                    <a:pt x="265" y="95"/>
                    <a:pt x="265" y="95"/>
                  </a:cubicBezTo>
                  <a:cubicBezTo>
                    <a:pt x="265" y="99"/>
                    <a:pt x="266" y="102"/>
                    <a:pt x="270" y="102"/>
                  </a:cubicBezTo>
                  <a:cubicBezTo>
                    <a:pt x="273" y="102"/>
                    <a:pt x="275" y="99"/>
                    <a:pt x="275" y="95"/>
                  </a:cubicBezTo>
                  <a:cubicBezTo>
                    <a:pt x="275" y="74"/>
                    <a:pt x="275" y="74"/>
                    <a:pt x="275" y="74"/>
                  </a:cubicBezTo>
                  <a:close/>
                  <a:moveTo>
                    <a:pt x="255" y="85"/>
                  </a:moveTo>
                  <a:cubicBezTo>
                    <a:pt x="255" y="79"/>
                    <a:pt x="258" y="74"/>
                    <a:pt x="263" y="71"/>
                  </a:cubicBezTo>
                  <a:cubicBezTo>
                    <a:pt x="265" y="69"/>
                    <a:pt x="267" y="67"/>
                    <a:pt x="270" y="66"/>
                  </a:cubicBezTo>
                  <a:cubicBezTo>
                    <a:pt x="271" y="64"/>
                    <a:pt x="273" y="63"/>
                    <a:pt x="275" y="62"/>
                  </a:cubicBezTo>
                  <a:cubicBezTo>
                    <a:pt x="275" y="44"/>
                    <a:pt x="275" y="44"/>
                    <a:pt x="275" y="44"/>
                  </a:cubicBezTo>
                  <a:cubicBezTo>
                    <a:pt x="275" y="40"/>
                    <a:pt x="273" y="39"/>
                    <a:pt x="270" y="39"/>
                  </a:cubicBezTo>
                  <a:cubicBezTo>
                    <a:pt x="267" y="39"/>
                    <a:pt x="266" y="40"/>
                    <a:pt x="266" y="44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56" y="59"/>
                    <a:pt x="256" y="59"/>
                    <a:pt x="256" y="59"/>
                  </a:cubicBezTo>
                  <a:cubicBezTo>
                    <a:pt x="256" y="48"/>
                    <a:pt x="256" y="48"/>
                    <a:pt x="256" y="48"/>
                  </a:cubicBezTo>
                  <a:cubicBezTo>
                    <a:pt x="256" y="35"/>
                    <a:pt x="261" y="28"/>
                    <a:pt x="270" y="28"/>
                  </a:cubicBezTo>
                  <a:cubicBezTo>
                    <a:pt x="279" y="28"/>
                    <a:pt x="284" y="35"/>
                    <a:pt x="284" y="48"/>
                  </a:cubicBezTo>
                  <a:cubicBezTo>
                    <a:pt x="284" y="111"/>
                    <a:pt x="284" y="111"/>
                    <a:pt x="284" y="111"/>
                  </a:cubicBezTo>
                  <a:cubicBezTo>
                    <a:pt x="275" y="111"/>
                    <a:pt x="275" y="111"/>
                    <a:pt x="275" y="111"/>
                  </a:cubicBezTo>
                  <a:cubicBezTo>
                    <a:pt x="275" y="108"/>
                    <a:pt x="275" y="108"/>
                    <a:pt x="275" y="108"/>
                  </a:cubicBezTo>
                  <a:cubicBezTo>
                    <a:pt x="273" y="110"/>
                    <a:pt x="270" y="111"/>
                    <a:pt x="267" y="111"/>
                  </a:cubicBezTo>
                  <a:cubicBezTo>
                    <a:pt x="259" y="111"/>
                    <a:pt x="255" y="105"/>
                    <a:pt x="255" y="91"/>
                  </a:cubicBezTo>
                  <a:cubicBezTo>
                    <a:pt x="255" y="85"/>
                    <a:pt x="255" y="85"/>
                    <a:pt x="255" y="85"/>
                  </a:cubicBezTo>
                  <a:close/>
                  <a:moveTo>
                    <a:pt x="309" y="44"/>
                  </a:moveTo>
                  <a:cubicBezTo>
                    <a:pt x="309" y="40"/>
                    <a:pt x="308" y="38"/>
                    <a:pt x="305" y="38"/>
                  </a:cubicBezTo>
                  <a:cubicBezTo>
                    <a:pt x="303" y="38"/>
                    <a:pt x="302" y="40"/>
                    <a:pt x="302" y="44"/>
                  </a:cubicBezTo>
                  <a:cubicBezTo>
                    <a:pt x="302" y="52"/>
                    <a:pt x="302" y="52"/>
                    <a:pt x="302" y="52"/>
                  </a:cubicBezTo>
                  <a:cubicBezTo>
                    <a:pt x="302" y="55"/>
                    <a:pt x="304" y="62"/>
                    <a:pt x="310" y="69"/>
                  </a:cubicBezTo>
                  <a:cubicBezTo>
                    <a:pt x="316" y="76"/>
                    <a:pt x="320" y="84"/>
                    <a:pt x="320" y="90"/>
                  </a:cubicBezTo>
                  <a:cubicBezTo>
                    <a:pt x="320" y="104"/>
                    <a:pt x="314" y="111"/>
                    <a:pt x="305" y="111"/>
                  </a:cubicBezTo>
                  <a:cubicBezTo>
                    <a:pt x="297" y="111"/>
                    <a:pt x="292" y="104"/>
                    <a:pt x="292" y="90"/>
                  </a:cubicBezTo>
                  <a:cubicBezTo>
                    <a:pt x="292" y="86"/>
                    <a:pt x="292" y="86"/>
                    <a:pt x="292" y="86"/>
                  </a:cubicBezTo>
                  <a:cubicBezTo>
                    <a:pt x="302" y="86"/>
                    <a:pt x="302" y="86"/>
                    <a:pt x="302" y="86"/>
                  </a:cubicBezTo>
                  <a:cubicBezTo>
                    <a:pt x="302" y="96"/>
                    <a:pt x="302" y="96"/>
                    <a:pt x="302" y="96"/>
                  </a:cubicBezTo>
                  <a:cubicBezTo>
                    <a:pt x="302" y="100"/>
                    <a:pt x="303" y="102"/>
                    <a:pt x="305" y="102"/>
                  </a:cubicBezTo>
                  <a:cubicBezTo>
                    <a:pt x="308" y="102"/>
                    <a:pt x="310" y="100"/>
                    <a:pt x="310" y="96"/>
                  </a:cubicBezTo>
                  <a:cubicBezTo>
                    <a:pt x="310" y="89"/>
                    <a:pt x="310" y="89"/>
                    <a:pt x="310" y="89"/>
                  </a:cubicBezTo>
                  <a:cubicBezTo>
                    <a:pt x="310" y="84"/>
                    <a:pt x="307" y="78"/>
                    <a:pt x="301" y="72"/>
                  </a:cubicBezTo>
                  <a:cubicBezTo>
                    <a:pt x="295" y="66"/>
                    <a:pt x="292" y="58"/>
                    <a:pt x="292" y="50"/>
                  </a:cubicBezTo>
                  <a:cubicBezTo>
                    <a:pt x="292" y="36"/>
                    <a:pt x="297" y="28"/>
                    <a:pt x="305" y="28"/>
                  </a:cubicBezTo>
                  <a:cubicBezTo>
                    <a:pt x="314" y="28"/>
                    <a:pt x="319" y="36"/>
                    <a:pt x="319" y="50"/>
                  </a:cubicBezTo>
                  <a:cubicBezTo>
                    <a:pt x="319" y="57"/>
                    <a:pt x="319" y="57"/>
                    <a:pt x="319" y="57"/>
                  </a:cubicBezTo>
                  <a:cubicBezTo>
                    <a:pt x="309" y="57"/>
                    <a:pt x="309" y="57"/>
                    <a:pt x="309" y="57"/>
                  </a:cubicBezTo>
                  <a:cubicBezTo>
                    <a:pt x="309" y="44"/>
                    <a:pt x="309" y="44"/>
                    <a:pt x="309" y="44"/>
                  </a:cubicBezTo>
                  <a:close/>
                  <a:moveTo>
                    <a:pt x="336" y="15"/>
                  </a:moveTo>
                  <a:cubicBezTo>
                    <a:pt x="327" y="15"/>
                    <a:pt x="327" y="15"/>
                    <a:pt x="327" y="15"/>
                  </a:cubicBezTo>
                  <a:cubicBezTo>
                    <a:pt x="327" y="0"/>
                    <a:pt x="327" y="0"/>
                    <a:pt x="327" y="0"/>
                  </a:cubicBezTo>
                  <a:cubicBezTo>
                    <a:pt x="336" y="0"/>
                    <a:pt x="336" y="0"/>
                    <a:pt x="336" y="0"/>
                  </a:cubicBezTo>
                  <a:lnTo>
                    <a:pt x="336" y="15"/>
                  </a:lnTo>
                  <a:close/>
                  <a:moveTo>
                    <a:pt x="336" y="111"/>
                  </a:moveTo>
                  <a:cubicBezTo>
                    <a:pt x="327" y="111"/>
                    <a:pt x="327" y="111"/>
                    <a:pt x="327" y="111"/>
                  </a:cubicBezTo>
                  <a:cubicBezTo>
                    <a:pt x="327" y="28"/>
                    <a:pt x="327" y="28"/>
                    <a:pt x="327" y="28"/>
                  </a:cubicBezTo>
                  <a:cubicBezTo>
                    <a:pt x="336" y="28"/>
                    <a:pt x="336" y="28"/>
                    <a:pt x="336" y="28"/>
                  </a:cubicBezTo>
                  <a:lnTo>
                    <a:pt x="336" y="111"/>
                  </a:lnTo>
                  <a:close/>
                  <a:moveTo>
                    <a:pt x="364" y="44"/>
                  </a:moveTo>
                  <a:cubicBezTo>
                    <a:pt x="364" y="40"/>
                    <a:pt x="363" y="39"/>
                    <a:pt x="360" y="39"/>
                  </a:cubicBezTo>
                  <a:cubicBezTo>
                    <a:pt x="357" y="39"/>
                    <a:pt x="355" y="40"/>
                    <a:pt x="355" y="44"/>
                  </a:cubicBezTo>
                  <a:cubicBezTo>
                    <a:pt x="355" y="111"/>
                    <a:pt x="355" y="111"/>
                    <a:pt x="355" y="111"/>
                  </a:cubicBezTo>
                  <a:cubicBezTo>
                    <a:pt x="345" y="111"/>
                    <a:pt x="345" y="111"/>
                    <a:pt x="345" y="111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55" y="0"/>
                    <a:pt x="355" y="0"/>
                    <a:pt x="355" y="0"/>
                  </a:cubicBezTo>
                  <a:cubicBezTo>
                    <a:pt x="355" y="32"/>
                    <a:pt x="355" y="32"/>
                    <a:pt x="355" y="32"/>
                  </a:cubicBezTo>
                  <a:cubicBezTo>
                    <a:pt x="356" y="30"/>
                    <a:pt x="359" y="28"/>
                    <a:pt x="363" y="28"/>
                  </a:cubicBezTo>
                  <a:cubicBezTo>
                    <a:pt x="371" y="28"/>
                    <a:pt x="375" y="35"/>
                    <a:pt x="375" y="48"/>
                  </a:cubicBezTo>
                  <a:cubicBezTo>
                    <a:pt x="375" y="111"/>
                    <a:pt x="375" y="111"/>
                    <a:pt x="375" y="111"/>
                  </a:cubicBezTo>
                  <a:cubicBezTo>
                    <a:pt x="364" y="111"/>
                    <a:pt x="364" y="111"/>
                    <a:pt x="364" y="111"/>
                  </a:cubicBezTo>
                  <a:cubicBezTo>
                    <a:pt x="364" y="44"/>
                    <a:pt x="364" y="44"/>
                    <a:pt x="364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999289" y="3438933"/>
              <a:ext cx="727075" cy="276225"/>
            </a:xfrm>
            <a:custGeom>
              <a:avLst/>
              <a:gdLst/>
              <a:ahLst/>
              <a:cxnLst>
                <a:cxn ang="0">
                  <a:pos x="14" y="101"/>
                </a:cxn>
                <a:cxn ang="0">
                  <a:pos x="19" y="44"/>
                </a:cxn>
                <a:cxn ang="0">
                  <a:pos x="9" y="44"/>
                </a:cxn>
                <a:cxn ang="0">
                  <a:pos x="29" y="111"/>
                </a:cxn>
                <a:cxn ang="0">
                  <a:pos x="19" y="107"/>
                </a:cxn>
                <a:cxn ang="0">
                  <a:pos x="0" y="91"/>
                </a:cxn>
                <a:cxn ang="0">
                  <a:pos x="11" y="28"/>
                </a:cxn>
                <a:cxn ang="0">
                  <a:pos x="19" y="0"/>
                </a:cxn>
                <a:cxn ang="0">
                  <a:pos x="29" y="111"/>
                </a:cxn>
                <a:cxn ang="0">
                  <a:pos x="54" y="76"/>
                </a:cxn>
                <a:cxn ang="0">
                  <a:pos x="47" y="86"/>
                </a:cxn>
                <a:cxn ang="0">
                  <a:pos x="52" y="101"/>
                </a:cxn>
                <a:cxn ang="0">
                  <a:pos x="57" y="74"/>
                </a:cxn>
                <a:cxn ang="0">
                  <a:pos x="45" y="70"/>
                </a:cxn>
                <a:cxn ang="0">
                  <a:pos x="57" y="62"/>
                </a:cxn>
                <a:cxn ang="0">
                  <a:pos x="53" y="38"/>
                </a:cxn>
                <a:cxn ang="0">
                  <a:pos x="48" y="59"/>
                </a:cxn>
                <a:cxn ang="0">
                  <a:pos x="38" y="48"/>
                </a:cxn>
                <a:cxn ang="0">
                  <a:pos x="67" y="48"/>
                </a:cxn>
                <a:cxn ang="0">
                  <a:pos x="57" y="111"/>
                </a:cxn>
                <a:cxn ang="0">
                  <a:pos x="49" y="111"/>
                </a:cxn>
                <a:cxn ang="0">
                  <a:pos x="38" y="85"/>
                </a:cxn>
                <a:cxn ang="0">
                  <a:pos x="85" y="0"/>
                </a:cxn>
                <a:cxn ang="0">
                  <a:pos x="87" y="58"/>
                </a:cxn>
                <a:cxn ang="0">
                  <a:pos x="108" y="28"/>
                </a:cxn>
                <a:cxn ang="0">
                  <a:pos x="108" y="111"/>
                </a:cxn>
                <a:cxn ang="0">
                  <a:pos x="87" y="81"/>
                </a:cxn>
                <a:cxn ang="0">
                  <a:pos x="85" y="111"/>
                </a:cxn>
                <a:cxn ang="0">
                  <a:pos x="76" y="0"/>
                </a:cxn>
                <a:cxn ang="0">
                  <a:pos x="127" y="101"/>
                </a:cxn>
                <a:cxn ang="0">
                  <a:pos x="132" y="28"/>
                </a:cxn>
                <a:cxn ang="0">
                  <a:pos x="141" y="111"/>
                </a:cxn>
                <a:cxn ang="0">
                  <a:pos x="132" y="108"/>
                </a:cxn>
                <a:cxn ang="0">
                  <a:pos x="113" y="91"/>
                </a:cxn>
                <a:cxn ang="0">
                  <a:pos x="122" y="28"/>
                </a:cxn>
                <a:cxn ang="0">
                  <a:pos x="161" y="15"/>
                </a:cxn>
                <a:cxn ang="0">
                  <a:pos x="151" y="0"/>
                </a:cxn>
                <a:cxn ang="0">
                  <a:pos x="161" y="15"/>
                </a:cxn>
                <a:cxn ang="0">
                  <a:pos x="151" y="113"/>
                </a:cxn>
                <a:cxn ang="0">
                  <a:pos x="161" y="28"/>
                </a:cxn>
                <a:cxn ang="0">
                  <a:pos x="144" y="130"/>
                </a:cxn>
                <a:cxn ang="0">
                  <a:pos x="179" y="62"/>
                </a:cxn>
                <a:cxn ang="0">
                  <a:pos x="189" y="44"/>
                </a:cxn>
                <a:cxn ang="0">
                  <a:pos x="179" y="44"/>
                </a:cxn>
                <a:cxn ang="0">
                  <a:pos x="179" y="95"/>
                </a:cxn>
                <a:cxn ang="0">
                  <a:pos x="189" y="95"/>
                </a:cxn>
                <a:cxn ang="0">
                  <a:pos x="199" y="80"/>
                </a:cxn>
                <a:cxn ang="0">
                  <a:pos x="184" y="111"/>
                </a:cxn>
                <a:cxn ang="0">
                  <a:pos x="170" y="48"/>
                </a:cxn>
                <a:cxn ang="0">
                  <a:pos x="199" y="48"/>
                </a:cxn>
                <a:cxn ang="0">
                  <a:pos x="180" y="71"/>
                </a:cxn>
                <a:cxn ang="0">
                  <a:pos x="179" y="95"/>
                </a:cxn>
                <a:cxn ang="0">
                  <a:pos x="241" y="38"/>
                </a:cxn>
                <a:cxn ang="0">
                  <a:pos x="236" y="111"/>
                </a:cxn>
                <a:cxn ang="0">
                  <a:pos x="227" y="44"/>
                </a:cxn>
                <a:cxn ang="0">
                  <a:pos x="217" y="44"/>
                </a:cxn>
                <a:cxn ang="0">
                  <a:pos x="208" y="111"/>
                </a:cxn>
                <a:cxn ang="0">
                  <a:pos x="217" y="28"/>
                </a:cxn>
                <a:cxn ang="0">
                  <a:pos x="225" y="28"/>
                </a:cxn>
                <a:cxn ang="0">
                  <a:pos x="244" y="28"/>
                </a:cxn>
                <a:cxn ang="0">
                  <a:pos x="256" y="111"/>
                </a:cxn>
                <a:cxn ang="0">
                  <a:pos x="246" y="44"/>
                </a:cxn>
              </a:cxnLst>
              <a:rect l="0" t="0" r="r" b="b"/>
              <a:pathLst>
                <a:path w="256" h="130">
                  <a:moveTo>
                    <a:pt x="9" y="95"/>
                  </a:moveTo>
                  <a:cubicBezTo>
                    <a:pt x="9" y="99"/>
                    <a:pt x="11" y="101"/>
                    <a:pt x="14" y="101"/>
                  </a:cubicBezTo>
                  <a:cubicBezTo>
                    <a:pt x="18" y="101"/>
                    <a:pt x="19" y="99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8" y="38"/>
                    <a:pt x="14" y="38"/>
                  </a:cubicBezTo>
                  <a:cubicBezTo>
                    <a:pt x="11" y="38"/>
                    <a:pt x="9" y="40"/>
                    <a:pt x="9" y="44"/>
                  </a:cubicBezTo>
                  <a:lnTo>
                    <a:pt x="9" y="95"/>
                  </a:lnTo>
                  <a:close/>
                  <a:moveTo>
                    <a:pt x="29" y="111"/>
                  </a:move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7" y="109"/>
                    <a:pt x="14" y="111"/>
                    <a:pt x="11" y="111"/>
                  </a:cubicBezTo>
                  <a:cubicBezTo>
                    <a:pt x="4" y="111"/>
                    <a:pt x="0" y="104"/>
                    <a:pt x="0" y="9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4" y="28"/>
                    <a:pt x="11" y="28"/>
                  </a:cubicBezTo>
                  <a:cubicBezTo>
                    <a:pt x="15" y="28"/>
                    <a:pt x="18" y="30"/>
                    <a:pt x="19" y="3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29" y="111"/>
                  </a:lnTo>
                  <a:close/>
                  <a:moveTo>
                    <a:pt x="57" y="74"/>
                  </a:moveTo>
                  <a:cubicBezTo>
                    <a:pt x="56" y="75"/>
                    <a:pt x="54" y="75"/>
                    <a:pt x="54" y="76"/>
                  </a:cubicBezTo>
                  <a:cubicBezTo>
                    <a:pt x="53" y="76"/>
                    <a:pt x="51" y="77"/>
                    <a:pt x="50" y="78"/>
                  </a:cubicBezTo>
                  <a:cubicBezTo>
                    <a:pt x="49" y="80"/>
                    <a:pt x="47" y="82"/>
                    <a:pt x="47" y="86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1"/>
                    <a:pt x="52" y="101"/>
                  </a:cubicBezTo>
                  <a:cubicBezTo>
                    <a:pt x="55" y="101"/>
                    <a:pt x="57" y="99"/>
                    <a:pt x="57" y="95"/>
                  </a:cubicBezTo>
                  <a:lnTo>
                    <a:pt x="57" y="74"/>
                  </a:lnTo>
                  <a:close/>
                  <a:moveTo>
                    <a:pt x="38" y="85"/>
                  </a:moveTo>
                  <a:cubicBezTo>
                    <a:pt x="38" y="78"/>
                    <a:pt x="40" y="73"/>
                    <a:pt x="45" y="70"/>
                  </a:cubicBezTo>
                  <a:cubicBezTo>
                    <a:pt x="47" y="68"/>
                    <a:pt x="50" y="67"/>
                    <a:pt x="52" y="66"/>
                  </a:cubicBezTo>
                  <a:cubicBezTo>
                    <a:pt x="54" y="64"/>
                    <a:pt x="55" y="63"/>
                    <a:pt x="57" y="62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0"/>
                    <a:pt x="55" y="38"/>
                    <a:pt x="53" y="38"/>
                  </a:cubicBezTo>
                  <a:cubicBezTo>
                    <a:pt x="50" y="38"/>
                    <a:pt x="48" y="40"/>
                    <a:pt x="48" y="44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35"/>
                    <a:pt x="44" y="28"/>
                    <a:pt x="53" y="28"/>
                  </a:cubicBezTo>
                  <a:cubicBezTo>
                    <a:pt x="62" y="28"/>
                    <a:pt x="67" y="35"/>
                    <a:pt x="67" y="48"/>
                  </a:cubicBezTo>
                  <a:cubicBezTo>
                    <a:pt x="67" y="111"/>
                    <a:pt x="67" y="111"/>
                    <a:pt x="67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55" y="109"/>
                    <a:pt x="53" y="111"/>
                    <a:pt x="49" y="111"/>
                  </a:cubicBezTo>
                  <a:cubicBezTo>
                    <a:pt x="41" y="111"/>
                    <a:pt x="38" y="104"/>
                    <a:pt x="38" y="91"/>
                  </a:cubicBezTo>
                  <a:cubicBezTo>
                    <a:pt x="38" y="85"/>
                    <a:pt x="38" y="85"/>
                    <a:pt x="38" y="85"/>
                  </a:cubicBezTo>
                  <a:close/>
                  <a:moveTo>
                    <a:pt x="76" y="0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5" y="66"/>
                    <a:pt x="85" y="66"/>
                    <a:pt x="85" y="66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108" y="28"/>
                    <a:pt x="108" y="28"/>
                    <a:pt x="108" y="28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97" y="111"/>
                    <a:pt x="97" y="111"/>
                    <a:pt x="97" y="111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5" y="73"/>
                    <a:pt x="85" y="73"/>
                    <a:pt x="85" y="73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76" y="111"/>
                    <a:pt x="76" y="111"/>
                    <a:pt x="76" y="111"/>
                  </a:cubicBezTo>
                  <a:lnTo>
                    <a:pt x="76" y="0"/>
                  </a:lnTo>
                  <a:close/>
                  <a:moveTo>
                    <a:pt x="122" y="95"/>
                  </a:moveTo>
                  <a:cubicBezTo>
                    <a:pt x="122" y="99"/>
                    <a:pt x="124" y="101"/>
                    <a:pt x="127" y="101"/>
                  </a:cubicBezTo>
                  <a:cubicBezTo>
                    <a:pt x="131" y="101"/>
                    <a:pt x="132" y="99"/>
                    <a:pt x="132" y="95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41" y="28"/>
                    <a:pt x="141" y="28"/>
                    <a:pt x="141" y="28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32" y="111"/>
                    <a:pt x="132" y="111"/>
                    <a:pt x="132" y="111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31" y="110"/>
                    <a:pt x="128" y="111"/>
                    <a:pt x="124" y="111"/>
                  </a:cubicBezTo>
                  <a:cubicBezTo>
                    <a:pt x="117" y="111"/>
                    <a:pt x="113" y="104"/>
                    <a:pt x="113" y="91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95"/>
                    <a:pt x="122" y="95"/>
                    <a:pt x="122" y="95"/>
                  </a:cubicBezTo>
                  <a:close/>
                  <a:moveTo>
                    <a:pt x="161" y="15"/>
                  </a:moveTo>
                  <a:cubicBezTo>
                    <a:pt x="151" y="15"/>
                    <a:pt x="151" y="15"/>
                    <a:pt x="151" y="15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61" y="0"/>
                    <a:pt x="161" y="0"/>
                    <a:pt x="161" y="0"/>
                  </a:cubicBezTo>
                  <a:lnTo>
                    <a:pt x="161" y="15"/>
                  </a:lnTo>
                  <a:close/>
                  <a:moveTo>
                    <a:pt x="144" y="121"/>
                  </a:moveTo>
                  <a:cubicBezTo>
                    <a:pt x="149" y="121"/>
                    <a:pt x="151" y="118"/>
                    <a:pt x="151" y="113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61" y="28"/>
                    <a:pt x="161" y="28"/>
                    <a:pt x="161" y="28"/>
                  </a:cubicBezTo>
                  <a:cubicBezTo>
                    <a:pt x="161" y="110"/>
                    <a:pt x="161" y="110"/>
                    <a:pt x="161" y="110"/>
                  </a:cubicBezTo>
                  <a:cubicBezTo>
                    <a:pt x="161" y="123"/>
                    <a:pt x="155" y="130"/>
                    <a:pt x="144" y="130"/>
                  </a:cubicBezTo>
                  <a:lnTo>
                    <a:pt x="144" y="121"/>
                  </a:lnTo>
                  <a:close/>
                  <a:moveTo>
                    <a:pt x="179" y="62"/>
                  </a:moveTo>
                  <a:cubicBezTo>
                    <a:pt x="189" y="62"/>
                    <a:pt x="189" y="62"/>
                    <a:pt x="189" y="62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89" y="40"/>
                    <a:pt x="187" y="38"/>
                    <a:pt x="184" y="38"/>
                  </a:cubicBezTo>
                  <a:cubicBezTo>
                    <a:pt x="181" y="38"/>
                    <a:pt x="179" y="40"/>
                    <a:pt x="179" y="44"/>
                  </a:cubicBezTo>
                  <a:cubicBezTo>
                    <a:pt x="179" y="62"/>
                    <a:pt x="179" y="62"/>
                    <a:pt x="179" y="62"/>
                  </a:cubicBezTo>
                  <a:close/>
                  <a:moveTo>
                    <a:pt x="179" y="95"/>
                  </a:moveTo>
                  <a:cubicBezTo>
                    <a:pt x="179" y="99"/>
                    <a:pt x="181" y="101"/>
                    <a:pt x="184" y="101"/>
                  </a:cubicBezTo>
                  <a:cubicBezTo>
                    <a:pt x="187" y="101"/>
                    <a:pt x="189" y="99"/>
                    <a:pt x="189" y="95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99" y="80"/>
                    <a:pt x="199" y="80"/>
                    <a:pt x="199" y="80"/>
                  </a:cubicBezTo>
                  <a:cubicBezTo>
                    <a:pt x="199" y="91"/>
                    <a:pt x="199" y="91"/>
                    <a:pt x="199" y="91"/>
                  </a:cubicBezTo>
                  <a:cubicBezTo>
                    <a:pt x="199" y="104"/>
                    <a:pt x="194" y="111"/>
                    <a:pt x="184" y="111"/>
                  </a:cubicBezTo>
                  <a:cubicBezTo>
                    <a:pt x="174" y="111"/>
                    <a:pt x="170" y="104"/>
                    <a:pt x="170" y="91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70" y="35"/>
                    <a:pt x="174" y="28"/>
                    <a:pt x="184" y="28"/>
                  </a:cubicBezTo>
                  <a:cubicBezTo>
                    <a:pt x="194" y="28"/>
                    <a:pt x="199" y="35"/>
                    <a:pt x="199" y="48"/>
                  </a:cubicBezTo>
                  <a:cubicBezTo>
                    <a:pt x="199" y="71"/>
                    <a:pt x="199" y="71"/>
                    <a:pt x="199" y="71"/>
                  </a:cubicBezTo>
                  <a:cubicBezTo>
                    <a:pt x="180" y="71"/>
                    <a:pt x="180" y="71"/>
                    <a:pt x="180" y="71"/>
                  </a:cubicBezTo>
                  <a:cubicBezTo>
                    <a:pt x="180" y="95"/>
                    <a:pt x="180" y="95"/>
                    <a:pt x="180" y="95"/>
                  </a:cubicBezTo>
                  <a:lnTo>
                    <a:pt x="179" y="95"/>
                  </a:lnTo>
                  <a:close/>
                  <a:moveTo>
                    <a:pt x="246" y="44"/>
                  </a:moveTo>
                  <a:cubicBezTo>
                    <a:pt x="246" y="40"/>
                    <a:pt x="245" y="38"/>
                    <a:pt x="241" y="38"/>
                  </a:cubicBezTo>
                  <a:cubicBezTo>
                    <a:pt x="238" y="38"/>
                    <a:pt x="236" y="40"/>
                    <a:pt x="236" y="44"/>
                  </a:cubicBezTo>
                  <a:cubicBezTo>
                    <a:pt x="236" y="111"/>
                    <a:pt x="236" y="111"/>
                    <a:pt x="236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7" y="44"/>
                    <a:pt x="227" y="44"/>
                    <a:pt x="227" y="44"/>
                  </a:cubicBezTo>
                  <a:cubicBezTo>
                    <a:pt x="227" y="40"/>
                    <a:pt x="226" y="38"/>
                    <a:pt x="222" y="38"/>
                  </a:cubicBezTo>
                  <a:cubicBezTo>
                    <a:pt x="219" y="38"/>
                    <a:pt x="217" y="40"/>
                    <a:pt x="217" y="44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08" y="111"/>
                    <a:pt x="208" y="111"/>
                    <a:pt x="208" y="111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7" y="28"/>
                    <a:pt x="217" y="28"/>
                    <a:pt x="217" y="28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8" y="30"/>
                    <a:pt x="221" y="28"/>
                    <a:pt x="225" y="28"/>
                  </a:cubicBezTo>
                  <a:cubicBezTo>
                    <a:pt x="229" y="28"/>
                    <a:pt x="232" y="30"/>
                    <a:pt x="235" y="34"/>
                  </a:cubicBezTo>
                  <a:cubicBezTo>
                    <a:pt x="236" y="30"/>
                    <a:pt x="240" y="28"/>
                    <a:pt x="244" y="28"/>
                  </a:cubicBezTo>
                  <a:cubicBezTo>
                    <a:pt x="252" y="28"/>
                    <a:pt x="256" y="35"/>
                    <a:pt x="256" y="48"/>
                  </a:cubicBezTo>
                  <a:cubicBezTo>
                    <a:pt x="256" y="111"/>
                    <a:pt x="256" y="111"/>
                    <a:pt x="256" y="111"/>
                  </a:cubicBezTo>
                  <a:cubicBezTo>
                    <a:pt x="246" y="111"/>
                    <a:pt x="246" y="111"/>
                    <a:pt x="246" y="111"/>
                  </a:cubicBezTo>
                  <a:cubicBezTo>
                    <a:pt x="246" y="44"/>
                    <a:pt x="246" y="44"/>
                    <a:pt x="246" y="4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2573338" y="3232955"/>
              <a:ext cx="371475" cy="490538"/>
            </a:xfrm>
            <a:custGeom>
              <a:avLst/>
              <a:gdLst/>
              <a:ahLst/>
              <a:cxnLst>
                <a:cxn ang="0">
                  <a:pos x="39" y="217"/>
                </a:cxn>
                <a:cxn ang="0">
                  <a:pos x="52" y="221"/>
                </a:cxn>
                <a:cxn ang="0">
                  <a:pos x="91" y="203"/>
                </a:cxn>
                <a:cxn ang="0">
                  <a:pos x="91" y="231"/>
                </a:cxn>
                <a:cxn ang="0">
                  <a:pos x="87" y="221"/>
                </a:cxn>
                <a:cxn ang="0">
                  <a:pos x="103" y="217"/>
                </a:cxn>
                <a:cxn ang="0">
                  <a:pos x="89" y="213"/>
                </a:cxn>
                <a:cxn ang="0">
                  <a:pos x="50" y="231"/>
                </a:cxn>
                <a:cxn ang="0">
                  <a:pos x="50" y="204"/>
                </a:cxn>
                <a:cxn ang="0">
                  <a:pos x="57" y="213"/>
                </a:cxn>
                <a:cxn ang="0">
                  <a:pos x="74" y="177"/>
                </a:cxn>
                <a:cxn ang="0">
                  <a:pos x="79" y="183"/>
                </a:cxn>
                <a:cxn ang="0">
                  <a:pos x="96" y="186"/>
                </a:cxn>
                <a:cxn ang="0">
                  <a:pos x="96" y="177"/>
                </a:cxn>
                <a:cxn ang="0">
                  <a:pos x="86" y="196"/>
                </a:cxn>
                <a:cxn ang="0">
                  <a:pos x="66" y="182"/>
                </a:cxn>
                <a:cxn ang="0">
                  <a:pos x="45" y="177"/>
                </a:cxn>
                <a:cxn ang="0">
                  <a:pos x="45" y="185"/>
                </a:cxn>
                <a:cxn ang="0">
                  <a:pos x="60" y="195"/>
                </a:cxn>
                <a:cxn ang="0">
                  <a:pos x="29" y="181"/>
                </a:cxn>
                <a:cxn ang="0">
                  <a:pos x="112" y="167"/>
                </a:cxn>
                <a:cxn ang="0">
                  <a:pos x="108" y="177"/>
                </a:cxn>
                <a:cxn ang="0">
                  <a:pos x="92" y="196"/>
                </a:cxn>
                <a:cxn ang="0">
                  <a:pos x="94" y="149"/>
                </a:cxn>
                <a:cxn ang="0">
                  <a:pos x="95" y="138"/>
                </a:cxn>
                <a:cxn ang="0">
                  <a:pos x="39" y="143"/>
                </a:cxn>
                <a:cxn ang="0">
                  <a:pos x="94" y="149"/>
                </a:cxn>
                <a:cxn ang="0">
                  <a:pos x="116" y="138"/>
                </a:cxn>
                <a:cxn ang="0">
                  <a:pos x="110" y="147"/>
                </a:cxn>
                <a:cxn ang="0">
                  <a:pos x="49" y="158"/>
                </a:cxn>
                <a:cxn ang="0">
                  <a:pos x="33" y="138"/>
                </a:cxn>
                <a:cxn ang="0">
                  <a:pos x="29" y="129"/>
                </a:cxn>
                <a:cxn ang="0">
                  <a:pos x="131" y="143"/>
                </a:cxn>
                <a:cxn ang="0">
                  <a:pos x="116" y="149"/>
                </a:cxn>
                <a:cxn ang="0">
                  <a:pos x="45" y="101"/>
                </a:cxn>
                <a:cxn ang="0">
                  <a:pos x="45" y="110"/>
                </a:cxn>
                <a:cxn ang="0">
                  <a:pos x="102" y="106"/>
                </a:cxn>
                <a:cxn ang="0">
                  <a:pos x="45" y="101"/>
                </a:cxn>
                <a:cxn ang="0">
                  <a:pos x="112" y="106"/>
                </a:cxn>
                <a:cxn ang="0">
                  <a:pos x="49" y="120"/>
                </a:cxn>
                <a:cxn ang="0">
                  <a:pos x="49" y="91"/>
                </a:cxn>
                <a:cxn ang="0">
                  <a:pos x="0" y="83"/>
                </a:cxn>
                <a:cxn ang="0">
                  <a:pos x="112" y="74"/>
                </a:cxn>
                <a:cxn ang="0">
                  <a:pos x="0" y="83"/>
                </a:cxn>
                <a:cxn ang="0">
                  <a:pos x="102" y="52"/>
                </a:cxn>
                <a:cxn ang="0">
                  <a:pos x="29" y="47"/>
                </a:cxn>
                <a:cxn ang="0">
                  <a:pos x="112" y="37"/>
                </a:cxn>
                <a:cxn ang="0">
                  <a:pos x="108" y="47"/>
                </a:cxn>
                <a:cxn ang="0">
                  <a:pos x="92" y="66"/>
                </a:cxn>
                <a:cxn ang="0">
                  <a:pos x="29" y="56"/>
                </a:cxn>
                <a:cxn ang="0">
                  <a:pos x="45" y="9"/>
                </a:cxn>
                <a:cxn ang="0">
                  <a:pos x="45" y="19"/>
                </a:cxn>
                <a:cxn ang="0">
                  <a:pos x="112" y="28"/>
                </a:cxn>
                <a:cxn ang="0">
                  <a:pos x="29" y="19"/>
                </a:cxn>
                <a:cxn ang="0">
                  <a:pos x="29" y="11"/>
                </a:cxn>
                <a:cxn ang="0">
                  <a:pos x="112" y="0"/>
                </a:cxn>
                <a:cxn ang="0">
                  <a:pos x="45" y="9"/>
                </a:cxn>
              </a:cxnLst>
              <a:rect l="0" t="0" r="r" b="b"/>
              <a:pathLst>
                <a:path w="131" h="231">
                  <a:moveTo>
                    <a:pt x="44" y="213"/>
                  </a:moveTo>
                  <a:cubicBezTo>
                    <a:pt x="41" y="213"/>
                    <a:pt x="39" y="215"/>
                    <a:pt x="39" y="217"/>
                  </a:cubicBezTo>
                  <a:cubicBezTo>
                    <a:pt x="39" y="220"/>
                    <a:pt x="41" y="221"/>
                    <a:pt x="44" y="221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6" y="221"/>
                    <a:pt x="62" y="218"/>
                    <a:pt x="69" y="213"/>
                  </a:cubicBezTo>
                  <a:cubicBezTo>
                    <a:pt x="77" y="206"/>
                    <a:pt x="84" y="203"/>
                    <a:pt x="91" y="203"/>
                  </a:cubicBezTo>
                  <a:cubicBezTo>
                    <a:pt x="105" y="203"/>
                    <a:pt x="112" y="208"/>
                    <a:pt x="112" y="217"/>
                  </a:cubicBezTo>
                  <a:cubicBezTo>
                    <a:pt x="112" y="226"/>
                    <a:pt x="105" y="231"/>
                    <a:pt x="91" y="231"/>
                  </a:cubicBezTo>
                  <a:cubicBezTo>
                    <a:pt x="87" y="231"/>
                    <a:pt x="87" y="231"/>
                    <a:pt x="87" y="231"/>
                  </a:cubicBezTo>
                  <a:cubicBezTo>
                    <a:pt x="87" y="221"/>
                    <a:pt x="87" y="221"/>
                    <a:pt x="87" y="221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100" y="221"/>
                    <a:pt x="103" y="220"/>
                    <a:pt x="103" y="217"/>
                  </a:cubicBezTo>
                  <a:cubicBezTo>
                    <a:pt x="103" y="214"/>
                    <a:pt x="100" y="213"/>
                    <a:pt x="96" y="213"/>
                  </a:cubicBezTo>
                  <a:cubicBezTo>
                    <a:pt x="89" y="213"/>
                    <a:pt x="89" y="213"/>
                    <a:pt x="89" y="213"/>
                  </a:cubicBezTo>
                  <a:cubicBezTo>
                    <a:pt x="84" y="213"/>
                    <a:pt x="79" y="216"/>
                    <a:pt x="73" y="222"/>
                  </a:cubicBezTo>
                  <a:cubicBezTo>
                    <a:pt x="67" y="228"/>
                    <a:pt x="59" y="231"/>
                    <a:pt x="50" y="231"/>
                  </a:cubicBezTo>
                  <a:cubicBezTo>
                    <a:pt x="36" y="231"/>
                    <a:pt x="29" y="226"/>
                    <a:pt x="29" y="217"/>
                  </a:cubicBezTo>
                  <a:cubicBezTo>
                    <a:pt x="29" y="208"/>
                    <a:pt x="36" y="204"/>
                    <a:pt x="50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7" y="213"/>
                    <a:pt x="57" y="213"/>
                    <a:pt x="57" y="213"/>
                  </a:cubicBezTo>
                  <a:cubicBezTo>
                    <a:pt x="44" y="213"/>
                    <a:pt x="44" y="213"/>
                    <a:pt x="44" y="213"/>
                  </a:cubicBezTo>
                  <a:close/>
                  <a:moveTo>
                    <a:pt x="74" y="177"/>
                  </a:moveTo>
                  <a:cubicBezTo>
                    <a:pt x="75" y="178"/>
                    <a:pt x="76" y="179"/>
                    <a:pt x="77" y="180"/>
                  </a:cubicBezTo>
                  <a:cubicBezTo>
                    <a:pt x="77" y="181"/>
                    <a:pt x="78" y="182"/>
                    <a:pt x="79" y="183"/>
                  </a:cubicBezTo>
                  <a:cubicBezTo>
                    <a:pt x="81" y="185"/>
                    <a:pt x="83" y="186"/>
                    <a:pt x="87" y="186"/>
                  </a:cubicBezTo>
                  <a:cubicBezTo>
                    <a:pt x="96" y="186"/>
                    <a:pt x="96" y="186"/>
                    <a:pt x="96" y="186"/>
                  </a:cubicBezTo>
                  <a:cubicBezTo>
                    <a:pt x="100" y="186"/>
                    <a:pt x="102" y="184"/>
                    <a:pt x="102" y="182"/>
                  </a:cubicBezTo>
                  <a:cubicBezTo>
                    <a:pt x="102" y="178"/>
                    <a:pt x="100" y="177"/>
                    <a:pt x="96" y="177"/>
                  </a:cubicBezTo>
                  <a:cubicBezTo>
                    <a:pt x="74" y="177"/>
                    <a:pt x="74" y="177"/>
                    <a:pt x="74" y="177"/>
                  </a:cubicBezTo>
                  <a:close/>
                  <a:moveTo>
                    <a:pt x="86" y="196"/>
                  </a:moveTo>
                  <a:cubicBezTo>
                    <a:pt x="80" y="196"/>
                    <a:pt x="74" y="193"/>
                    <a:pt x="71" y="188"/>
                  </a:cubicBezTo>
                  <a:cubicBezTo>
                    <a:pt x="69" y="186"/>
                    <a:pt x="68" y="183"/>
                    <a:pt x="66" y="182"/>
                  </a:cubicBezTo>
                  <a:cubicBezTo>
                    <a:pt x="65" y="179"/>
                    <a:pt x="64" y="178"/>
                    <a:pt x="63" y="177"/>
                  </a:cubicBezTo>
                  <a:cubicBezTo>
                    <a:pt x="45" y="177"/>
                    <a:pt x="45" y="177"/>
                    <a:pt x="45" y="177"/>
                  </a:cubicBezTo>
                  <a:cubicBezTo>
                    <a:pt x="41" y="177"/>
                    <a:pt x="39" y="178"/>
                    <a:pt x="39" y="181"/>
                  </a:cubicBezTo>
                  <a:cubicBezTo>
                    <a:pt x="39" y="184"/>
                    <a:pt x="41" y="185"/>
                    <a:pt x="45" y="185"/>
                  </a:cubicBezTo>
                  <a:cubicBezTo>
                    <a:pt x="60" y="185"/>
                    <a:pt x="60" y="185"/>
                    <a:pt x="60" y="185"/>
                  </a:cubicBezTo>
                  <a:cubicBezTo>
                    <a:pt x="60" y="195"/>
                    <a:pt x="60" y="195"/>
                    <a:pt x="60" y="195"/>
                  </a:cubicBezTo>
                  <a:cubicBezTo>
                    <a:pt x="49" y="195"/>
                    <a:pt x="49" y="195"/>
                    <a:pt x="49" y="195"/>
                  </a:cubicBezTo>
                  <a:cubicBezTo>
                    <a:pt x="36" y="195"/>
                    <a:pt x="29" y="190"/>
                    <a:pt x="29" y="181"/>
                  </a:cubicBezTo>
                  <a:cubicBezTo>
                    <a:pt x="29" y="172"/>
                    <a:pt x="36" y="167"/>
                    <a:pt x="49" y="167"/>
                  </a:cubicBezTo>
                  <a:cubicBezTo>
                    <a:pt x="112" y="167"/>
                    <a:pt x="112" y="167"/>
                    <a:pt x="112" y="167"/>
                  </a:cubicBezTo>
                  <a:cubicBezTo>
                    <a:pt x="112" y="177"/>
                    <a:pt x="112" y="177"/>
                    <a:pt x="112" y="177"/>
                  </a:cubicBezTo>
                  <a:cubicBezTo>
                    <a:pt x="108" y="177"/>
                    <a:pt x="108" y="177"/>
                    <a:pt x="108" y="177"/>
                  </a:cubicBezTo>
                  <a:cubicBezTo>
                    <a:pt x="110" y="178"/>
                    <a:pt x="112" y="181"/>
                    <a:pt x="112" y="184"/>
                  </a:cubicBezTo>
                  <a:cubicBezTo>
                    <a:pt x="112" y="192"/>
                    <a:pt x="105" y="196"/>
                    <a:pt x="92" y="196"/>
                  </a:cubicBezTo>
                  <a:lnTo>
                    <a:pt x="86" y="196"/>
                  </a:lnTo>
                  <a:close/>
                  <a:moveTo>
                    <a:pt x="94" y="149"/>
                  </a:moveTo>
                  <a:cubicBezTo>
                    <a:pt x="98" y="149"/>
                    <a:pt x="100" y="147"/>
                    <a:pt x="100" y="143"/>
                  </a:cubicBezTo>
                  <a:cubicBezTo>
                    <a:pt x="100" y="141"/>
                    <a:pt x="98" y="139"/>
                    <a:pt x="95" y="138"/>
                  </a:cubicBezTo>
                  <a:cubicBezTo>
                    <a:pt x="45" y="138"/>
                    <a:pt x="45" y="138"/>
                    <a:pt x="45" y="138"/>
                  </a:cubicBezTo>
                  <a:cubicBezTo>
                    <a:pt x="41" y="138"/>
                    <a:pt x="39" y="140"/>
                    <a:pt x="39" y="143"/>
                  </a:cubicBezTo>
                  <a:cubicBezTo>
                    <a:pt x="39" y="147"/>
                    <a:pt x="41" y="149"/>
                    <a:pt x="45" y="149"/>
                  </a:cubicBezTo>
                  <a:lnTo>
                    <a:pt x="94" y="149"/>
                  </a:lnTo>
                  <a:close/>
                  <a:moveTo>
                    <a:pt x="122" y="143"/>
                  </a:moveTo>
                  <a:cubicBezTo>
                    <a:pt x="122" y="140"/>
                    <a:pt x="119" y="138"/>
                    <a:pt x="116" y="138"/>
                  </a:cubicBezTo>
                  <a:cubicBezTo>
                    <a:pt x="106" y="138"/>
                    <a:pt x="106" y="138"/>
                    <a:pt x="106" y="138"/>
                  </a:cubicBezTo>
                  <a:cubicBezTo>
                    <a:pt x="109" y="140"/>
                    <a:pt x="110" y="142"/>
                    <a:pt x="110" y="147"/>
                  </a:cubicBezTo>
                  <a:cubicBezTo>
                    <a:pt x="110" y="154"/>
                    <a:pt x="103" y="158"/>
                    <a:pt x="90" y="158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36" y="158"/>
                    <a:pt x="29" y="154"/>
                    <a:pt x="29" y="147"/>
                  </a:cubicBezTo>
                  <a:cubicBezTo>
                    <a:pt x="29" y="144"/>
                    <a:pt x="31" y="141"/>
                    <a:pt x="33" y="138"/>
                  </a:cubicBezTo>
                  <a:cubicBezTo>
                    <a:pt x="29" y="138"/>
                    <a:pt x="29" y="138"/>
                    <a:pt x="29" y="138"/>
                  </a:cubicBezTo>
                  <a:cubicBezTo>
                    <a:pt x="29" y="129"/>
                    <a:pt x="29" y="129"/>
                    <a:pt x="29" y="129"/>
                  </a:cubicBezTo>
                  <a:cubicBezTo>
                    <a:pt x="112" y="129"/>
                    <a:pt x="112" y="129"/>
                    <a:pt x="112" y="129"/>
                  </a:cubicBezTo>
                  <a:cubicBezTo>
                    <a:pt x="125" y="129"/>
                    <a:pt x="131" y="134"/>
                    <a:pt x="131" y="143"/>
                  </a:cubicBezTo>
                  <a:cubicBezTo>
                    <a:pt x="131" y="152"/>
                    <a:pt x="126" y="157"/>
                    <a:pt x="116" y="158"/>
                  </a:cubicBezTo>
                  <a:cubicBezTo>
                    <a:pt x="116" y="149"/>
                    <a:pt x="116" y="149"/>
                    <a:pt x="116" y="149"/>
                  </a:cubicBezTo>
                  <a:cubicBezTo>
                    <a:pt x="119" y="148"/>
                    <a:pt x="122" y="147"/>
                    <a:pt x="122" y="143"/>
                  </a:cubicBezTo>
                  <a:close/>
                  <a:moveTo>
                    <a:pt x="45" y="101"/>
                  </a:moveTo>
                  <a:cubicBezTo>
                    <a:pt x="41" y="101"/>
                    <a:pt x="39" y="102"/>
                    <a:pt x="39" y="106"/>
                  </a:cubicBezTo>
                  <a:cubicBezTo>
                    <a:pt x="39" y="109"/>
                    <a:pt x="41" y="110"/>
                    <a:pt x="45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100" y="110"/>
                    <a:pt x="102" y="109"/>
                    <a:pt x="102" y="106"/>
                  </a:cubicBezTo>
                  <a:cubicBezTo>
                    <a:pt x="102" y="102"/>
                    <a:pt x="100" y="101"/>
                    <a:pt x="96" y="101"/>
                  </a:cubicBezTo>
                  <a:lnTo>
                    <a:pt x="45" y="101"/>
                  </a:lnTo>
                  <a:close/>
                  <a:moveTo>
                    <a:pt x="92" y="91"/>
                  </a:moveTo>
                  <a:cubicBezTo>
                    <a:pt x="105" y="91"/>
                    <a:pt x="112" y="96"/>
                    <a:pt x="112" y="106"/>
                  </a:cubicBezTo>
                  <a:cubicBezTo>
                    <a:pt x="112" y="115"/>
                    <a:pt x="105" y="120"/>
                    <a:pt x="92" y="120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36" y="120"/>
                    <a:pt x="29" y="115"/>
                    <a:pt x="29" y="106"/>
                  </a:cubicBezTo>
                  <a:cubicBezTo>
                    <a:pt x="29" y="96"/>
                    <a:pt x="36" y="91"/>
                    <a:pt x="49" y="91"/>
                  </a:cubicBezTo>
                  <a:lnTo>
                    <a:pt x="92" y="91"/>
                  </a:lnTo>
                  <a:close/>
                  <a:moveTo>
                    <a:pt x="0" y="83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112" y="74"/>
                    <a:pt x="112" y="74"/>
                    <a:pt x="112" y="74"/>
                  </a:cubicBezTo>
                  <a:cubicBezTo>
                    <a:pt x="112" y="83"/>
                    <a:pt x="112" y="83"/>
                    <a:pt x="112" y="83"/>
                  </a:cubicBezTo>
                  <a:lnTo>
                    <a:pt x="0" y="83"/>
                  </a:lnTo>
                  <a:close/>
                  <a:moveTo>
                    <a:pt x="96" y="56"/>
                  </a:moveTo>
                  <a:cubicBezTo>
                    <a:pt x="100" y="56"/>
                    <a:pt x="102" y="55"/>
                    <a:pt x="102" y="52"/>
                  </a:cubicBezTo>
                  <a:cubicBezTo>
                    <a:pt x="102" y="48"/>
                    <a:pt x="100" y="47"/>
                    <a:pt x="96" y="4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08" y="47"/>
                    <a:pt x="108" y="47"/>
                    <a:pt x="108" y="47"/>
                  </a:cubicBezTo>
                  <a:cubicBezTo>
                    <a:pt x="110" y="48"/>
                    <a:pt x="112" y="51"/>
                    <a:pt x="112" y="55"/>
                  </a:cubicBezTo>
                  <a:cubicBezTo>
                    <a:pt x="112" y="63"/>
                    <a:pt x="105" y="66"/>
                    <a:pt x="92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56"/>
                    <a:pt x="29" y="56"/>
                    <a:pt x="29" y="56"/>
                  </a:cubicBezTo>
                  <a:lnTo>
                    <a:pt x="96" y="56"/>
                  </a:lnTo>
                  <a:close/>
                  <a:moveTo>
                    <a:pt x="45" y="9"/>
                  </a:moveTo>
                  <a:cubicBezTo>
                    <a:pt x="41" y="9"/>
                    <a:pt x="39" y="11"/>
                    <a:pt x="39" y="14"/>
                  </a:cubicBezTo>
                  <a:cubicBezTo>
                    <a:pt x="39" y="17"/>
                    <a:pt x="41" y="19"/>
                    <a:pt x="45" y="19"/>
                  </a:cubicBezTo>
                  <a:cubicBezTo>
                    <a:pt x="112" y="19"/>
                    <a:pt x="112" y="19"/>
                    <a:pt x="112" y="19"/>
                  </a:cubicBezTo>
                  <a:cubicBezTo>
                    <a:pt x="112" y="28"/>
                    <a:pt x="112" y="28"/>
                    <a:pt x="112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0" y="18"/>
                    <a:pt x="29" y="15"/>
                    <a:pt x="29" y="11"/>
                  </a:cubicBezTo>
                  <a:cubicBezTo>
                    <a:pt x="29" y="3"/>
                    <a:pt x="36" y="0"/>
                    <a:pt x="4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9"/>
                    <a:pt x="112" y="9"/>
                    <a:pt x="112" y="9"/>
                  </a:cubicBezTo>
                  <a:cubicBezTo>
                    <a:pt x="45" y="9"/>
                    <a:pt x="45" y="9"/>
                    <a:pt x="45" y="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4445002" y="2076858"/>
              <a:ext cx="612775" cy="276225"/>
            </a:xfrm>
            <a:custGeom>
              <a:avLst/>
              <a:gdLst/>
              <a:ahLst/>
              <a:cxnLst>
                <a:cxn ang="0">
                  <a:pos x="15" y="101"/>
                </a:cxn>
                <a:cxn ang="0">
                  <a:pos x="19" y="44"/>
                </a:cxn>
                <a:cxn ang="0">
                  <a:pos x="10" y="44"/>
                </a:cxn>
                <a:cxn ang="0">
                  <a:pos x="29" y="111"/>
                </a:cxn>
                <a:cxn ang="0">
                  <a:pos x="19" y="107"/>
                </a:cxn>
                <a:cxn ang="0">
                  <a:pos x="0" y="91"/>
                </a:cxn>
                <a:cxn ang="0">
                  <a:pos x="11" y="28"/>
                </a:cxn>
                <a:cxn ang="0">
                  <a:pos x="19" y="0"/>
                </a:cxn>
                <a:cxn ang="0">
                  <a:pos x="29" y="111"/>
                </a:cxn>
                <a:cxn ang="0">
                  <a:pos x="53" y="76"/>
                </a:cxn>
                <a:cxn ang="0">
                  <a:pos x="47" y="86"/>
                </a:cxn>
                <a:cxn ang="0">
                  <a:pos x="52" y="101"/>
                </a:cxn>
                <a:cxn ang="0">
                  <a:pos x="57" y="74"/>
                </a:cxn>
                <a:cxn ang="0">
                  <a:pos x="45" y="70"/>
                </a:cxn>
                <a:cxn ang="0">
                  <a:pos x="57" y="62"/>
                </a:cxn>
                <a:cxn ang="0">
                  <a:pos x="52" y="38"/>
                </a:cxn>
                <a:cxn ang="0">
                  <a:pos x="48" y="59"/>
                </a:cxn>
                <a:cxn ang="0">
                  <a:pos x="39" y="48"/>
                </a:cxn>
                <a:cxn ang="0">
                  <a:pos x="66" y="48"/>
                </a:cxn>
                <a:cxn ang="0">
                  <a:pos x="57" y="111"/>
                </a:cxn>
                <a:cxn ang="0">
                  <a:pos x="49" y="111"/>
                </a:cxn>
                <a:cxn ang="0">
                  <a:pos x="38" y="85"/>
                </a:cxn>
                <a:cxn ang="0">
                  <a:pos x="90" y="38"/>
                </a:cxn>
                <a:cxn ang="0">
                  <a:pos x="85" y="111"/>
                </a:cxn>
                <a:cxn ang="0">
                  <a:pos x="75" y="28"/>
                </a:cxn>
                <a:cxn ang="0">
                  <a:pos x="85" y="32"/>
                </a:cxn>
                <a:cxn ang="0">
                  <a:pos x="104" y="48"/>
                </a:cxn>
                <a:cxn ang="0">
                  <a:pos x="95" y="111"/>
                </a:cxn>
                <a:cxn ang="0">
                  <a:pos x="113" y="0"/>
                </a:cxn>
                <a:cxn ang="0">
                  <a:pos x="123" y="66"/>
                </a:cxn>
                <a:cxn ang="0">
                  <a:pos x="135" y="28"/>
                </a:cxn>
                <a:cxn ang="0">
                  <a:pos x="131" y="70"/>
                </a:cxn>
                <a:cxn ang="0">
                  <a:pos x="135" y="111"/>
                </a:cxn>
                <a:cxn ang="0">
                  <a:pos x="123" y="73"/>
                </a:cxn>
                <a:cxn ang="0">
                  <a:pos x="113" y="111"/>
                </a:cxn>
                <a:cxn ang="0">
                  <a:pos x="178" y="15"/>
                </a:cxn>
                <a:cxn ang="0">
                  <a:pos x="169" y="0"/>
                </a:cxn>
                <a:cxn ang="0">
                  <a:pos x="178" y="15"/>
                </a:cxn>
                <a:cxn ang="0">
                  <a:pos x="169" y="113"/>
                </a:cxn>
                <a:cxn ang="0">
                  <a:pos x="178" y="28"/>
                </a:cxn>
                <a:cxn ang="0">
                  <a:pos x="161" y="130"/>
                </a:cxn>
                <a:cxn ang="0">
                  <a:pos x="197" y="61"/>
                </a:cxn>
                <a:cxn ang="0">
                  <a:pos x="206" y="44"/>
                </a:cxn>
                <a:cxn ang="0">
                  <a:pos x="197" y="44"/>
                </a:cxn>
                <a:cxn ang="0">
                  <a:pos x="197" y="95"/>
                </a:cxn>
                <a:cxn ang="0">
                  <a:pos x="206" y="95"/>
                </a:cxn>
                <a:cxn ang="0">
                  <a:pos x="216" y="79"/>
                </a:cxn>
                <a:cxn ang="0">
                  <a:pos x="201" y="111"/>
                </a:cxn>
                <a:cxn ang="0">
                  <a:pos x="187" y="48"/>
                </a:cxn>
                <a:cxn ang="0">
                  <a:pos x="216" y="48"/>
                </a:cxn>
                <a:cxn ang="0">
                  <a:pos x="197" y="71"/>
                </a:cxn>
              </a:cxnLst>
              <a:rect l="0" t="0" r="r" b="b"/>
              <a:pathLst>
                <a:path w="216" h="130">
                  <a:moveTo>
                    <a:pt x="10" y="95"/>
                  </a:moveTo>
                  <a:cubicBezTo>
                    <a:pt x="10" y="99"/>
                    <a:pt x="11" y="101"/>
                    <a:pt x="15" y="101"/>
                  </a:cubicBezTo>
                  <a:cubicBezTo>
                    <a:pt x="18" y="101"/>
                    <a:pt x="19" y="99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7" y="38"/>
                    <a:pt x="15" y="38"/>
                  </a:cubicBezTo>
                  <a:cubicBezTo>
                    <a:pt x="11" y="38"/>
                    <a:pt x="10" y="40"/>
                    <a:pt x="10" y="44"/>
                  </a:cubicBezTo>
                  <a:lnTo>
                    <a:pt x="10" y="95"/>
                  </a:lnTo>
                  <a:close/>
                  <a:moveTo>
                    <a:pt x="29" y="111"/>
                  </a:move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6" y="110"/>
                    <a:pt x="14" y="111"/>
                    <a:pt x="11" y="111"/>
                  </a:cubicBezTo>
                  <a:cubicBezTo>
                    <a:pt x="3" y="111"/>
                    <a:pt x="0" y="104"/>
                    <a:pt x="0" y="91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3" y="28"/>
                    <a:pt x="11" y="28"/>
                  </a:cubicBezTo>
                  <a:cubicBezTo>
                    <a:pt x="15" y="28"/>
                    <a:pt x="18" y="29"/>
                    <a:pt x="19" y="3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29" y="111"/>
                  </a:lnTo>
                  <a:close/>
                  <a:moveTo>
                    <a:pt x="57" y="74"/>
                  </a:moveTo>
                  <a:cubicBezTo>
                    <a:pt x="56" y="74"/>
                    <a:pt x="54" y="75"/>
                    <a:pt x="53" y="76"/>
                  </a:cubicBezTo>
                  <a:cubicBezTo>
                    <a:pt x="52" y="77"/>
                    <a:pt x="51" y="77"/>
                    <a:pt x="50" y="78"/>
                  </a:cubicBezTo>
                  <a:cubicBezTo>
                    <a:pt x="48" y="80"/>
                    <a:pt x="47" y="82"/>
                    <a:pt x="47" y="86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9"/>
                    <a:pt x="49" y="101"/>
                    <a:pt x="52" y="101"/>
                  </a:cubicBezTo>
                  <a:cubicBezTo>
                    <a:pt x="55" y="101"/>
                    <a:pt x="57" y="99"/>
                    <a:pt x="57" y="95"/>
                  </a:cubicBezTo>
                  <a:cubicBezTo>
                    <a:pt x="57" y="74"/>
                    <a:pt x="57" y="74"/>
                    <a:pt x="57" y="74"/>
                  </a:cubicBezTo>
                  <a:close/>
                  <a:moveTo>
                    <a:pt x="38" y="85"/>
                  </a:moveTo>
                  <a:cubicBezTo>
                    <a:pt x="38" y="79"/>
                    <a:pt x="40" y="74"/>
                    <a:pt x="45" y="70"/>
                  </a:cubicBezTo>
                  <a:cubicBezTo>
                    <a:pt x="48" y="69"/>
                    <a:pt x="50" y="67"/>
                    <a:pt x="52" y="65"/>
                  </a:cubicBezTo>
                  <a:cubicBezTo>
                    <a:pt x="54" y="64"/>
                    <a:pt x="56" y="63"/>
                    <a:pt x="57" y="62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0"/>
                    <a:pt x="56" y="38"/>
                    <a:pt x="52" y="38"/>
                  </a:cubicBezTo>
                  <a:cubicBezTo>
                    <a:pt x="49" y="38"/>
                    <a:pt x="48" y="40"/>
                    <a:pt x="48" y="44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35"/>
                    <a:pt x="43" y="28"/>
                    <a:pt x="52" y="28"/>
                  </a:cubicBezTo>
                  <a:cubicBezTo>
                    <a:pt x="62" y="28"/>
                    <a:pt x="66" y="35"/>
                    <a:pt x="66" y="48"/>
                  </a:cubicBezTo>
                  <a:cubicBezTo>
                    <a:pt x="66" y="111"/>
                    <a:pt x="66" y="111"/>
                    <a:pt x="66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7" y="107"/>
                    <a:pt x="57" y="107"/>
                    <a:pt x="57" y="107"/>
                  </a:cubicBezTo>
                  <a:cubicBezTo>
                    <a:pt x="55" y="110"/>
                    <a:pt x="53" y="111"/>
                    <a:pt x="49" y="111"/>
                  </a:cubicBezTo>
                  <a:cubicBezTo>
                    <a:pt x="42" y="111"/>
                    <a:pt x="38" y="104"/>
                    <a:pt x="38" y="91"/>
                  </a:cubicBezTo>
                  <a:cubicBezTo>
                    <a:pt x="38" y="85"/>
                    <a:pt x="38" y="85"/>
                    <a:pt x="38" y="85"/>
                  </a:cubicBezTo>
                  <a:close/>
                  <a:moveTo>
                    <a:pt x="95" y="44"/>
                  </a:moveTo>
                  <a:cubicBezTo>
                    <a:pt x="95" y="40"/>
                    <a:pt x="93" y="38"/>
                    <a:pt x="90" y="38"/>
                  </a:cubicBezTo>
                  <a:cubicBezTo>
                    <a:pt x="86" y="38"/>
                    <a:pt x="85" y="40"/>
                    <a:pt x="85" y="44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6" y="29"/>
                    <a:pt x="89" y="28"/>
                    <a:pt x="93" y="28"/>
                  </a:cubicBezTo>
                  <a:cubicBezTo>
                    <a:pt x="101" y="28"/>
                    <a:pt x="104" y="35"/>
                    <a:pt x="104" y="48"/>
                  </a:cubicBezTo>
                  <a:cubicBezTo>
                    <a:pt x="104" y="111"/>
                    <a:pt x="104" y="111"/>
                    <a:pt x="104" y="111"/>
                  </a:cubicBezTo>
                  <a:cubicBezTo>
                    <a:pt x="95" y="111"/>
                    <a:pt x="95" y="111"/>
                    <a:pt x="95" y="111"/>
                  </a:cubicBezTo>
                  <a:cubicBezTo>
                    <a:pt x="95" y="44"/>
                    <a:pt x="95" y="44"/>
                    <a:pt x="95" y="44"/>
                  </a:cubicBezTo>
                  <a:close/>
                  <a:moveTo>
                    <a:pt x="113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66"/>
                    <a:pt x="123" y="66"/>
                    <a:pt x="123" y="66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31" y="70"/>
                    <a:pt x="131" y="70"/>
                    <a:pt x="131" y="70"/>
                  </a:cubicBezTo>
                  <a:cubicBezTo>
                    <a:pt x="145" y="111"/>
                    <a:pt x="145" y="111"/>
                    <a:pt x="145" y="111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13" y="111"/>
                    <a:pt x="113" y="111"/>
                    <a:pt x="113" y="111"/>
                  </a:cubicBezTo>
                  <a:cubicBezTo>
                    <a:pt x="113" y="0"/>
                    <a:pt x="113" y="0"/>
                    <a:pt x="113" y="0"/>
                  </a:cubicBezTo>
                  <a:close/>
                  <a:moveTo>
                    <a:pt x="178" y="15"/>
                  </a:moveTo>
                  <a:cubicBezTo>
                    <a:pt x="169" y="15"/>
                    <a:pt x="169" y="15"/>
                    <a:pt x="169" y="1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8" y="0"/>
                    <a:pt x="178" y="0"/>
                    <a:pt x="178" y="0"/>
                  </a:cubicBezTo>
                  <a:lnTo>
                    <a:pt x="178" y="15"/>
                  </a:lnTo>
                  <a:close/>
                  <a:moveTo>
                    <a:pt x="161" y="120"/>
                  </a:moveTo>
                  <a:cubicBezTo>
                    <a:pt x="166" y="120"/>
                    <a:pt x="169" y="118"/>
                    <a:pt x="169" y="113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8" y="110"/>
                    <a:pt x="178" y="110"/>
                    <a:pt x="178" y="110"/>
                  </a:cubicBezTo>
                  <a:cubicBezTo>
                    <a:pt x="178" y="124"/>
                    <a:pt x="172" y="130"/>
                    <a:pt x="161" y="130"/>
                  </a:cubicBezTo>
                  <a:cubicBezTo>
                    <a:pt x="161" y="120"/>
                    <a:pt x="161" y="120"/>
                    <a:pt x="161" y="120"/>
                  </a:cubicBezTo>
                  <a:close/>
                  <a:moveTo>
                    <a:pt x="197" y="61"/>
                  </a:moveTo>
                  <a:cubicBezTo>
                    <a:pt x="206" y="61"/>
                    <a:pt x="206" y="61"/>
                    <a:pt x="206" y="61"/>
                  </a:cubicBezTo>
                  <a:cubicBezTo>
                    <a:pt x="206" y="44"/>
                    <a:pt x="206" y="44"/>
                    <a:pt x="206" y="44"/>
                  </a:cubicBezTo>
                  <a:cubicBezTo>
                    <a:pt x="206" y="40"/>
                    <a:pt x="205" y="38"/>
                    <a:pt x="201" y="38"/>
                  </a:cubicBezTo>
                  <a:cubicBezTo>
                    <a:pt x="198" y="38"/>
                    <a:pt x="197" y="40"/>
                    <a:pt x="197" y="44"/>
                  </a:cubicBezTo>
                  <a:lnTo>
                    <a:pt x="197" y="61"/>
                  </a:lnTo>
                  <a:close/>
                  <a:moveTo>
                    <a:pt x="197" y="95"/>
                  </a:moveTo>
                  <a:cubicBezTo>
                    <a:pt x="197" y="99"/>
                    <a:pt x="198" y="101"/>
                    <a:pt x="201" y="101"/>
                  </a:cubicBezTo>
                  <a:cubicBezTo>
                    <a:pt x="205" y="101"/>
                    <a:pt x="206" y="99"/>
                    <a:pt x="206" y="95"/>
                  </a:cubicBezTo>
                  <a:cubicBezTo>
                    <a:pt x="206" y="79"/>
                    <a:pt x="206" y="79"/>
                    <a:pt x="206" y="79"/>
                  </a:cubicBezTo>
                  <a:cubicBezTo>
                    <a:pt x="216" y="79"/>
                    <a:pt x="216" y="79"/>
                    <a:pt x="216" y="79"/>
                  </a:cubicBezTo>
                  <a:cubicBezTo>
                    <a:pt x="216" y="91"/>
                    <a:pt x="216" y="91"/>
                    <a:pt x="216" y="91"/>
                  </a:cubicBezTo>
                  <a:cubicBezTo>
                    <a:pt x="216" y="104"/>
                    <a:pt x="211" y="111"/>
                    <a:pt x="201" y="111"/>
                  </a:cubicBezTo>
                  <a:cubicBezTo>
                    <a:pt x="192" y="111"/>
                    <a:pt x="187" y="104"/>
                    <a:pt x="187" y="91"/>
                  </a:cubicBezTo>
                  <a:cubicBezTo>
                    <a:pt x="187" y="48"/>
                    <a:pt x="187" y="48"/>
                    <a:pt x="187" y="48"/>
                  </a:cubicBezTo>
                  <a:cubicBezTo>
                    <a:pt x="187" y="35"/>
                    <a:pt x="192" y="28"/>
                    <a:pt x="201" y="28"/>
                  </a:cubicBezTo>
                  <a:cubicBezTo>
                    <a:pt x="211" y="28"/>
                    <a:pt x="216" y="35"/>
                    <a:pt x="216" y="48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197" y="71"/>
                    <a:pt x="197" y="71"/>
                    <a:pt x="197" y="71"/>
                  </a:cubicBezTo>
                  <a:cubicBezTo>
                    <a:pt x="197" y="95"/>
                    <a:pt x="197" y="95"/>
                    <a:pt x="197" y="9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5840413" y="3435362"/>
              <a:ext cx="584200" cy="275035"/>
            </a:xfrm>
            <a:custGeom>
              <a:avLst/>
              <a:gdLst/>
              <a:ahLst/>
              <a:cxnLst>
                <a:cxn ang="0">
                  <a:pos x="12" y="78"/>
                </a:cxn>
                <a:cxn ang="0">
                  <a:pos x="14" y="101"/>
                </a:cxn>
                <a:cxn ang="0">
                  <a:pos x="0" y="85"/>
                </a:cxn>
                <a:cxn ang="0">
                  <a:pos x="19" y="61"/>
                </a:cxn>
                <a:cxn ang="0">
                  <a:pos x="10" y="43"/>
                </a:cxn>
                <a:cxn ang="0">
                  <a:pos x="1" y="48"/>
                </a:cxn>
                <a:cxn ang="0">
                  <a:pos x="28" y="111"/>
                </a:cxn>
                <a:cxn ang="0">
                  <a:pos x="11" y="111"/>
                </a:cxn>
                <a:cxn ang="0">
                  <a:pos x="47" y="32"/>
                </a:cxn>
                <a:cxn ang="0">
                  <a:pos x="52" y="38"/>
                </a:cxn>
                <a:cxn ang="0">
                  <a:pos x="37" y="111"/>
                </a:cxn>
                <a:cxn ang="0">
                  <a:pos x="47" y="32"/>
                </a:cxn>
                <a:cxn ang="0">
                  <a:pos x="61" y="0"/>
                </a:cxn>
                <a:cxn ang="0">
                  <a:pos x="71" y="111"/>
                </a:cxn>
                <a:cxn ang="0">
                  <a:pos x="71" y="28"/>
                </a:cxn>
                <a:cxn ang="0">
                  <a:pos x="95" y="98"/>
                </a:cxn>
                <a:cxn ang="0">
                  <a:pos x="95" y="38"/>
                </a:cxn>
                <a:cxn ang="0">
                  <a:pos x="94" y="120"/>
                </a:cxn>
                <a:cxn ang="0">
                  <a:pos x="91" y="109"/>
                </a:cxn>
                <a:cxn ang="0">
                  <a:pos x="91" y="28"/>
                </a:cxn>
                <a:cxn ang="0">
                  <a:pos x="109" y="28"/>
                </a:cxn>
                <a:cxn ang="0">
                  <a:pos x="80" y="115"/>
                </a:cxn>
                <a:cxn ang="0">
                  <a:pos x="137" y="74"/>
                </a:cxn>
                <a:cxn ang="0">
                  <a:pos x="127" y="86"/>
                </a:cxn>
                <a:cxn ang="0">
                  <a:pos x="137" y="95"/>
                </a:cxn>
                <a:cxn ang="0">
                  <a:pos x="125" y="70"/>
                </a:cxn>
                <a:cxn ang="0">
                  <a:pos x="137" y="43"/>
                </a:cxn>
                <a:cxn ang="0">
                  <a:pos x="128" y="59"/>
                </a:cxn>
                <a:cxn ang="0">
                  <a:pos x="132" y="28"/>
                </a:cxn>
                <a:cxn ang="0">
                  <a:pos x="137" y="111"/>
                </a:cxn>
                <a:cxn ang="0">
                  <a:pos x="118" y="91"/>
                </a:cxn>
                <a:cxn ang="0">
                  <a:pos x="156" y="28"/>
                </a:cxn>
                <a:cxn ang="0">
                  <a:pos x="165" y="28"/>
                </a:cxn>
                <a:cxn ang="0">
                  <a:pos x="165" y="38"/>
                </a:cxn>
                <a:cxn ang="0">
                  <a:pos x="170" y="111"/>
                </a:cxn>
                <a:cxn ang="0">
                  <a:pos x="152" y="38"/>
                </a:cxn>
                <a:cxn ang="0">
                  <a:pos x="192" y="38"/>
                </a:cxn>
                <a:cxn ang="0">
                  <a:pos x="192" y="101"/>
                </a:cxn>
                <a:cxn ang="0">
                  <a:pos x="206" y="91"/>
                </a:cxn>
                <a:cxn ang="0">
                  <a:pos x="177" y="48"/>
                </a:cxn>
                <a:cxn ang="0">
                  <a:pos x="206" y="91"/>
                </a:cxn>
                <a:cxn ang="0">
                  <a:pos x="205" y="23"/>
                </a:cxn>
                <a:cxn ang="0">
                  <a:pos x="188" y="23"/>
                </a:cxn>
              </a:cxnLst>
              <a:rect l="0" t="0" r="r" b="b"/>
              <a:pathLst>
                <a:path w="206" h="130">
                  <a:moveTo>
                    <a:pt x="19" y="74"/>
                  </a:moveTo>
                  <a:cubicBezTo>
                    <a:pt x="18" y="74"/>
                    <a:pt x="16" y="75"/>
                    <a:pt x="15" y="75"/>
                  </a:cubicBezTo>
                  <a:cubicBezTo>
                    <a:pt x="14" y="77"/>
                    <a:pt x="13" y="77"/>
                    <a:pt x="12" y="78"/>
                  </a:cubicBezTo>
                  <a:cubicBezTo>
                    <a:pt x="10" y="79"/>
                    <a:pt x="9" y="82"/>
                    <a:pt x="9" y="86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9" y="99"/>
                    <a:pt x="11" y="101"/>
                    <a:pt x="14" y="101"/>
                  </a:cubicBezTo>
                  <a:cubicBezTo>
                    <a:pt x="17" y="101"/>
                    <a:pt x="19" y="99"/>
                    <a:pt x="19" y="95"/>
                  </a:cubicBezTo>
                  <a:cubicBezTo>
                    <a:pt x="19" y="74"/>
                    <a:pt x="19" y="74"/>
                    <a:pt x="19" y="74"/>
                  </a:cubicBezTo>
                  <a:close/>
                  <a:moveTo>
                    <a:pt x="0" y="85"/>
                  </a:moveTo>
                  <a:cubicBezTo>
                    <a:pt x="0" y="78"/>
                    <a:pt x="2" y="73"/>
                    <a:pt x="7" y="70"/>
                  </a:cubicBezTo>
                  <a:cubicBezTo>
                    <a:pt x="9" y="68"/>
                    <a:pt x="11" y="66"/>
                    <a:pt x="14" y="65"/>
                  </a:cubicBezTo>
                  <a:cubicBezTo>
                    <a:pt x="15" y="64"/>
                    <a:pt x="17" y="62"/>
                    <a:pt x="19" y="61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9" y="40"/>
                    <a:pt x="17" y="38"/>
                    <a:pt x="14" y="38"/>
                  </a:cubicBezTo>
                  <a:cubicBezTo>
                    <a:pt x="11" y="38"/>
                    <a:pt x="10" y="40"/>
                    <a:pt x="10" y="43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34"/>
                    <a:pt x="5" y="28"/>
                    <a:pt x="14" y="28"/>
                  </a:cubicBezTo>
                  <a:cubicBezTo>
                    <a:pt x="24" y="28"/>
                    <a:pt x="28" y="34"/>
                    <a:pt x="28" y="48"/>
                  </a:cubicBezTo>
                  <a:cubicBezTo>
                    <a:pt x="28" y="111"/>
                    <a:pt x="28" y="111"/>
                    <a:pt x="28" y="111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7" y="109"/>
                    <a:pt x="15" y="111"/>
                    <a:pt x="11" y="111"/>
                  </a:cubicBezTo>
                  <a:cubicBezTo>
                    <a:pt x="4" y="111"/>
                    <a:pt x="0" y="104"/>
                    <a:pt x="0" y="91"/>
                  </a:cubicBezTo>
                  <a:cubicBezTo>
                    <a:pt x="0" y="85"/>
                    <a:pt x="0" y="85"/>
                    <a:pt x="0" y="85"/>
                  </a:cubicBezTo>
                  <a:close/>
                  <a:moveTo>
                    <a:pt x="47" y="32"/>
                  </a:moveTo>
                  <a:cubicBezTo>
                    <a:pt x="48" y="29"/>
                    <a:pt x="51" y="28"/>
                    <a:pt x="55" y="28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4" y="39"/>
                    <a:pt x="53" y="38"/>
                    <a:pt x="52" y="38"/>
                  </a:cubicBezTo>
                  <a:cubicBezTo>
                    <a:pt x="49" y="38"/>
                    <a:pt x="47" y="40"/>
                    <a:pt x="47" y="43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71" y="15"/>
                  </a:moveTo>
                  <a:cubicBezTo>
                    <a:pt x="61" y="15"/>
                    <a:pt x="61" y="15"/>
                    <a:pt x="61" y="15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71" y="0"/>
                    <a:pt x="71" y="0"/>
                    <a:pt x="71" y="0"/>
                  </a:cubicBezTo>
                  <a:lnTo>
                    <a:pt x="71" y="15"/>
                  </a:lnTo>
                  <a:close/>
                  <a:moveTo>
                    <a:pt x="71" y="111"/>
                  </a:moveTo>
                  <a:cubicBezTo>
                    <a:pt x="61" y="111"/>
                    <a:pt x="61" y="111"/>
                    <a:pt x="61" y="111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71" y="28"/>
                    <a:pt x="71" y="28"/>
                    <a:pt x="71" y="28"/>
                  </a:cubicBezTo>
                  <a:lnTo>
                    <a:pt x="71" y="111"/>
                  </a:lnTo>
                  <a:close/>
                  <a:moveTo>
                    <a:pt x="90" y="93"/>
                  </a:moveTo>
                  <a:cubicBezTo>
                    <a:pt x="90" y="97"/>
                    <a:pt x="91" y="98"/>
                    <a:pt x="95" y="98"/>
                  </a:cubicBezTo>
                  <a:cubicBezTo>
                    <a:pt x="97" y="98"/>
                    <a:pt x="99" y="97"/>
                    <a:pt x="99" y="94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9" y="40"/>
                    <a:pt x="97" y="38"/>
                    <a:pt x="95" y="38"/>
                  </a:cubicBezTo>
                  <a:cubicBezTo>
                    <a:pt x="91" y="38"/>
                    <a:pt x="90" y="40"/>
                    <a:pt x="90" y="43"/>
                  </a:cubicBezTo>
                  <a:lnTo>
                    <a:pt x="90" y="93"/>
                  </a:lnTo>
                  <a:close/>
                  <a:moveTo>
                    <a:pt x="94" y="120"/>
                  </a:moveTo>
                  <a:cubicBezTo>
                    <a:pt x="97" y="120"/>
                    <a:pt x="99" y="119"/>
                    <a:pt x="99" y="115"/>
                  </a:cubicBezTo>
                  <a:cubicBezTo>
                    <a:pt x="99" y="105"/>
                    <a:pt x="99" y="105"/>
                    <a:pt x="99" y="105"/>
                  </a:cubicBezTo>
                  <a:cubicBezTo>
                    <a:pt x="98" y="107"/>
                    <a:pt x="95" y="109"/>
                    <a:pt x="91" y="109"/>
                  </a:cubicBezTo>
                  <a:cubicBezTo>
                    <a:pt x="83" y="109"/>
                    <a:pt x="80" y="102"/>
                    <a:pt x="80" y="89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34"/>
                    <a:pt x="83" y="28"/>
                    <a:pt x="91" y="28"/>
                  </a:cubicBezTo>
                  <a:cubicBezTo>
                    <a:pt x="93" y="28"/>
                    <a:pt x="97" y="29"/>
                    <a:pt x="99" y="32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9" y="111"/>
                    <a:pt x="109" y="111"/>
                    <a:pt x="109" y="111"/>
                  </a:cubicBezTo>
                  <a:cubicBezTo>
                    <a:pt x="109" y="124"/>
                    <a:pt x="104" y="130"/>
                    <a:pt x="94" y="130"/>
                  </a:cubicBezTo>
                  <a:cubicBezTo>
                    <a:pt x="86" y="130"/>
                    <a:pt x="81" y="125"/>
                    <a:pt x="80" y="115"/>
                  </a:cubicBezTo>
                  <a:cubicBezTo>
                    <a:pt x="90" y="115"/>
                    <a:pt x="90" y="115"/>
                    <a:pt x="90" y="115"/>
                  </a:cubicBezTo>
                  <a:cubicBezTo>
                    <a:pt x="90" y="119"/>
                    <a:pt x="91" y="120"/>
                    <a:pt x="94" y="120"/>
                  </a:cubicBezTo>
                  <a:close/>
                  <a:moveTo>
                    <a:pt x="137" y="74"/>
                  </a:moveTo>
                  <a:cubicBezTo>
                    <a:pt x="136" y="74"/>
                    <a:pt x="134" y="75"/>
                    <a:pt x="133" y="75"/>
                  </a:cubicBezTo>
                  <a:cubicBezTo>
                    <a:pt x="132" y="77"/>
                    <a:pt x="131" y="77"/>
                    <a:pt x="130" y="78"/>
                  </a:cubicBezTo>
                  <a:cubicBezTo>
                    <a:pt x="128" y="79"/>
                    <a:pt x="127" y="82"/>
                    <a:pt x="127" y="86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27" y="99"/>
                    <a:pt x="129" y="101"/>
                    <a:pt x="132" y="101"/>
                  </a:cubicBezTo>
                  <a:cubicBezTo>
                    <a:pt x="135" y="101"/>
                    <a:pt x="137" y="99"/>
                    <a:pt x="137" y="95"/>
                  </a:cubicBezTo>
                  <a:cubicBezTo>
                    <a:pt x="137" y="74"/>
                    <a:pt x="137" y="74"/>
                    <a:pt x="137" y="74"/>
                  </a:cubicBezTo>
                  <a:close/>
                  <a:moveTo>
                    <a:pt x="118" y="85"/>
                  </a:moveTo>
                  <a:cubicBezTo>
                    <a:pt x="118" y="78"/>
                    <a:pt x="120" y="73"/>
                    <a:pt x="125" y="70"/>
                  </a:cubicBezTo>
                  <a:cubicBezTo>
                    <a:pt x="128" y="68"/>
                    <a:pt x="130" y="66"/>
                    <a:pt x="132" y="65"/>
                  </a:cubicBezTo>
                  <a:cubicBezTo>
                    <a:pt x="134" y="64"/>
                    <a:pt x="136" y="62"/>
                    <a:pt x="137" y="61"/>
                  </a:cubicBezTo>
                  <a:cubicBezTo>
                    <a:pt x="137" y="43"/>
                    <a:pt x="137" y="43"/>
                    <a:pt x="137" y="43"/>
                  </a:cubicBezTo>
                  <a:cubicBezTo>
                    <a:pt x="137" y="40"/>
                    <a:pt x="136" y="38"/>
                    <a:pt x="132" y="38"/>
                  </a:cubicBezTo>
                  <a:cubicBezTo>
                    <a:pt x="129" y="38"/>
                    <a:pt x="128" y="40"/>
                    <a:pt x="128" y="43"/>
                  </a:cubicBezTo>
                  <a:cubicBezTo>
                    <a:pt x="128" y="59"/>
                    <a:pt x="128" y="59"/>
                    <a:pt x="128" y="59"/>
                  </a:cubicBezTo>
                  <a:cubicBezTo>
                    <a:pt x="119" y="59"/>
                    <a:pt x="119" y="59"/>
                    <a:pt x="119" y="59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34"/>
                    <a:pt x="123" y="28"/>
                    <a:pt x="132" y="28"/>
                  </a:cubicBezTo>
                  <a:cubicBezTo>
                    <a:pt x="142" y="28"/>
                    <a:pt x="146" y="34"/>
                    <a:pt x="146" y="48"/>
                  </a:cubicBezTo>
                  <a:cubicBezTo>
                    <a:pt x="146" y="111"/>
                    <a:pt x="146" y="111"/>
                    <a:pt x="146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5" y="109"/>
                    <a:pt x="133" y="111"/>
                    <a:pt x="129" y="111"/>
                  </a:cubicBezTo>
                  <a:cubicBezTo>
                    <a:pt x="122" y="111"/>
                    <a:pt x="118" y="104"/>
                    <a:pt x="118" y="91"/>
                  </a:cubicBezTo>
                  <a:cubicBezTo>
                    <a:pt x="118" y="85"/>
                    <a:pt x="118" y="85"/>
                    <a:pt x="118" y="85"/>
                  </a:cubicBezTo>
                  <a:close/>
                  <a:moveTo>
                    <a:pt x="152" y="28"/>
                  </a:moveTo>
                  <a:cubicBezTo>
                    <a:pt x="156" y="28"/>
                    <a:pt x="156" y="28"/>
                    <a:pt x="156" y="28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28"/>
                    <a:pt x="165" y="28"/>
                    <a:pt x="165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38"/>
                    <a:pt x="170" y="38"/>
                    <a:pt x="170" y="38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95"/>
                    <a:pt x="165" y="95"/>
                    <a:pt x="165" y="95"/>
                  </a:cubicBezTo>
                  <a:cubicBezTo>
                    <a:pt x="165" y="99"/>
                    <a:pt x="167" y="101"/>
                    <a:pt x="170" y="101"/>
                  </a:cubicBezTo>
                  <a:cubicBezTo>
                    <a:pt x="170" y="111"/>
                    <a:pt x="170" y="111"/>
                    <a:pt x="170" y="111"/>
                  </a:cubicBezTo>
                  <a:cubicBezTo>
                    <a:pt x="160" y="111"/>
                    <a:pt x="156" y="104"/>
                    <a:pt x="156" y="91"/>
                  </a:cubicBezTo>
                  <a:cubicBezTo>
                    <a:pt x="156" y="38"/>
                    <a:pt x="156" y="38"/>
                    <a:pt x="156" y="38"/>
                  </a:cubicBezTo>
                  <a:cubicBezTo>
                    <a:pt x="152" y="38"/>
                    <a:pt x="152" y="38"/>
                    <a:pt x="152" y="38"/>
                  </a:cubicBezTo>
                  <a:cubicBezTo>
                    <a:pt x="152" y="28"/>
                    <a:pt x="152" y="28"/>
                    <a:pt x="152" y="28"/>
                  </a:cubicBezTo>
                  <a:close/>
                  <a:moveTo>
                    <a:pt x="197" y="43"/>
                  </a:moveTo>
                  <a:cubicBezTo>
                    <a:pt x="197" y="40"/>
                    <a:pt x="195" y="38"/>
                    <a:pt x="192" y="38"/>
                  </a:cubicBezTo>
                  <a:cubicBezTo>
                    <a:pt x="188" y="38"/>
                    <a:pt x="187" y="40"/>
                    <a:pt x="187" y="4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7" y="99"/>
                    <a:pt x="188" y="101"/>
                    <a:pt x="192" y="101"/>
                  </a:cubicBezTo>
                  <a:cubicBezTo>
                    <a:pt x="195" y="101"/>
                    <a:pt x="197" y="99"/>
                    <a:pt x="197" y="95"/>
                  </a:cubicBezTo>
                  <a:lnTo>
                    <a:pt x="197" y="43"/>
                  </a:lnTo>
                  <a:close/>
                  <a:moveTo>
                    <a:pt x="206" y="91"/>
                  </a:moveTo>
                  <a:cubicBezTo>
                    <a:pt x="206" y="104"/>
                    <a:pt x="201" y="111"/>
                    <a:pt x="192" y="111"/>
                  </a:cubicBezTo>
                  <a:cubicBezTo>
                    <a:pt x="182" y="111"/>
                    <a:pt x="177" y="104"/>
                    <a:pt x="177" y="91"/>
                  </a:cubicBezTo>
                  <a:cubicBezTo>
                    <a:pt x="177" y="48"/>
                    <a:pt x="177" y="48"/>
                    <a:pt x="177" y="48"/>
                  </a:cubicBezTo>
                  <a:cubicBezTo>
                    <a:pt x="177" y="34"/>
                    <a:pt x="182" y="28"/>
                    <a:pt x="192" y="28"/>
                  </a:cubicBezTo>
                  <a:cubicBezTo>
                    <a:pt x="201" y="28"/>
                    <a:pt x="206" y="34"/>
                    <a:pt x="206" y="48"/>
                  </a:cubicBezTo>
                  <a:lnTo>
                    <a:pt x="206" y="91"/>
                  </a:lnTo>
                  <a:close/>
                  <a:moveTo>
                    <a:pt x="188" y="16"/>
                  </a:moveTo>
                  <a:cubicBezTo>
                    <a:pt x="195" y="16"/>
                    <a:pt x="195" y="16"/>
                    <a:pt x="195" y="16"/>
                  </a:cubicBezTo>
                  <a:cubicBezTo>
                    <a:pt x="205" y="23"/>
                    <a:pt x="205" y="23"/>
                    <a:pt x="205" y="23"/>
                  </a:cubicBezTo>
                  <a:cubicBezTo>
                    <a:pt x="195" y="23"/>
                    <a:pt x="195" y="23"/>
                    <a:pt x="195" y="23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88" y="23"/>
                    <a:pt x="188" y="23"/>
                    <a:pt x="188" y="23"/>
                  </a:cubicBezTo>
                  <a:cubicBezTo>
                    <a:pt x="178" y="23"/>
                    <a:pt x="178" y="23"/>
                    <a:pt x="178" y="23"/>
                  </a:cubicBezTo>
                  <a:cubicBezTo>
                    <a:pt x="188" y="16"/>
                    <a:pt x="188" y="16"/>
                    <a:pt x="188" y="1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5102227" y="3517515"/>
              <a:ext cx="511175" cy="278606"/>
            </a:xfrm>
            <a:custGeom>
              <a:avLst/>
              <a:gdLst/>
              <a:ahLst/>
              <a:cxnLst>
                <a:cxn ang="0">
                  <a:pos x="14" y="99"/>
                </a:cxn>
                <a:cxn ang="0">
                  <a:pos x="19" y="44"/>
                </a:cxn>
                <a:cxn ang="0">
                  <a:pos x="10" y="44"/>
                </a:cxn>
                <a:cxn ang="0">
                  <a:pos x="14" y="121"/>
                </a:cxn>
                <a:cxn ang="0">
                  <a:pos x="19" y="106"/>
                </a:cxn>
                <a:cxn ang="0">
                  <a:pos x="0" y="90"/>
                </a:cxn>
                <a:cxn ang="0">
                  <a:pos x="11" y="29"/>
                </a:cxn>
                <a:cxn ang="0">
                  <a:pos x="19" y="29"/>
                </a:cxn>
                <a:cxn ang="0">
                  <a:pos x="29" y="112"/>
                </a:cxn>
                <a:cxn ang="0">
                  <a:pos x="0" y="116"/>
                </a:cxn>
                <a:cxn ang="0">
                  <a:pos x="14" y="121"/>
                </a:cxn>
                <a:cxn ang="0">
                  <a:pos x="56" y="29"/>
                </a:cxn>
                <a:cxn ang="0">
                  <a:pos x="52" y="39"/>
                </a:cxn>
                <a:cxn ang="0">
                  <a:pos x="47" y="112"/>
                </a:cxn>
                <a:cxn ang="0">
                  <a:pos x="38" y="29"/>
                </a:cxn>
                <a:cxn ang="0">
                  <a:pos x="47" y="32"/>
                </a:cxn>
                <a:cxn ang="0">
                  <a:pos x="78" y="76"/>
                </a:cxn>
                <a:cxn ang="0">
                  <a:pos x="71" y="87"/>
                </a:cxn>
                <a:cxn ang="0">
                  <a:pos x="76" y="102"/>
                </a:cxn>
                <a:cxn ang="0">
                  <a:pos x="81" y="75"/>
                </a:cxn>
                <a:cxn ang="0">
                  <a:pos x="69" y="71"/>
                </a:cxn>
                <a:cxn ang="0">
                  <a:pos x="81" y="62"/>
                </a:cxn>
                <a:cxn ang="0">
                  <a:pos x="76" y="39"/>
                </a:cxn>
                <a:cxn ang="0">
                  <a:pos x="73" y="60"/>
                </a:cxn>
                <a:cxn ang="0">
                  <a:pos x="63" y="49"/>
                </a:cxn>
                <a:cxn ang="0">
                  <a:pos x="91" y="49"/>
                </a:cxn>
                <a:cxn ang="0">
                  <a:pos x="81" y="112"/>
                </a:cxn>
                <a:cxn ang="0">
                  <a:pos x="73" y="112"/>
                </a:cxn>
                <a:cxn ang="0">
                  <a:pos x="62" y="86"/>
                </a:cxn>
                <a:cxn ang="0">
                  <a:pos x="125" y="29"/>
                </a:cxn>
                <a:cxn ang="0">
                  <a:pos x="108" y="102"/>
                </a:cxn>
                <a:cxn ang="0">
                  <a:pos x="125" y="112"/>
                </a:cxn>
                <a:cxn ang="0">
                  <a:pos x="99" y="100"/>
                </a:cxn>
                <a:cxn ang="0">
                  <a:pos x="99" y="39"/>
                </a:cxn>
                <a:cxn ang="0">
                  <a:pos x="143" y="16"/>
                </a:cxn>
                <a:cxn ang="0">
                  <a:pos x="133" y="0"/>
                </a:cxn>
                <a:cxn ang="0">
                  <a:pos x="143" y="16"/>
                </a:cxn>
                <a:cxn ang="0">
                  <a:pos x="133" y="112"/>
                </a:cxn>
                <a:cxn ang="0">
                  <a:pos x="143" y="29"/>
                </a:cxn>
                <a:cxn ang="0">
                  <a:pos x="161" y="62"/>
                </a:cxn>
                <a:cxn ang="0">
                  <a:pos x="171" y="44"/>
                </a:cxn>
                <a:cxn ang="0">
                  <a:pos x="161" y="44"/>
                </a:cxn>
                <a:cxn ang="0">
                  <a:pos x="161" y="96"/>
                </a:cxn>
                <a:cxn ang="0">
                  <a:pos x="171" y="96"/>
                </a:cxn>
                <a:cxn ang="0">
                  <a:pos x="180" y="80"/>
                </a:cxn>
                <a:cxn ang="0">
                  <a:pos x="166" y="112"/>
                </a:cxn>
                <a:cxn ang="0">
                  <a:pos x="152" y="49"/>
                </a:cxn>
                <a:cxn ang="0">
                  <a:pos x="180" y="49"/>
                </a:cxn>
                <a:cxn ang="0">
                  <a:pos x="161" y="72"/>
                </a:cxn>
              </a:cxnLst>
              <a:rect l="0" t="0" r="r" b="b"/>
              <a:pathLst>
                <a:path w="180" h="131">
                  <a:moveTo>
                    <a:pt x="10" y="94"/>
                  </a:moveTo>
                  <a:cubicBezTo>
                    <a:pt x="10" y="98"/>
                    <a:pt x="11" y="99"/>
                    <a:pt x="14" y="99"/>
                  </a:cubicBezTo>
                  <a:cubicBezTo>
                    <a:pt x="17" y="99"/>
                    <a:pt x="19" y="98"/>
                    <a:pt x="19" y="9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0"/>
                    <a:pt x="17" y="39"/>
                    <a:pt x="14" y="39"/>
                  </a:cubicBezTo>
                  <a:cubicBezTo>
                    <a:pt x="11" y="39"/>
                    <a:pt x="10" y="41"/>
                    <a:pt x="10" y="44"/>
                  </a:cubicBezTo>
                  <a:lnTo>
                    <a:pt x="10" y="94"/>
                  </a:lnTo>
                  <a:close/>
                  <a:moveTo>
                    <a:pt x="14" y="121"/>
                  </a:moveTo>
                  <a:cubicBezTo>
                    <a:pt x="17" y="121"/>
                    <a:pt x="19" y="120"/>
                    <a:pt x="19" y="11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8" y="108"/>
                    <a:pt x="15" y="109"/>
                    <a:pt x="11" y="109"/>
                  </a:cubicBezTo>
                  <a:cubicBezTo>
                    <a:pt x="3" y="109"/>
                    <a:pt x="0" y="103"/>
                    <a:pt x="0" y="9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35"/>
                    <a:pt x="3" y="29"/>
                    <a:pt x="11" y="29"/>
                  </a:cubicBezTo>
                  <a:cubicBezTo>
                    <a:pt x="14" y="29"/>
                    <a:pt x="16" y="30"/>
                    <a:pt x="19" y="32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29" y="125"/>
                    <a:pt x="24" y="131"/>
                    <a:pt x="14" y="131"/>
                  </a:cubicBezTo>
                  <a:cubicBezTo>
                    <a:pt x="6" y="131"/>
                    <a:pt x="1" y="126"/>
                    <a:pt x="0" y="116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20"/>
                    <a:pt x="11" y="121"/>
                    <a:pt x="14" y="121"/>
                  </a:cubicBezTo>
                  <a:close/>
                  <a:moveTo>
                    <a:pt x="47" y="32"/>
                  </a:moveTo>
                  <a:cubicBezTo>
                    <a:pt x="48" y="30"/>
                    <a:pt x="51" y="29"/>
                    <a:pt x="56" y="29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5" y="40"/>
                    <a:pt x="53" y="39"/>
                    <a:pt x="52" y="39"/>
                  </a:cubicBezTo>
                  <a:cubicBezTo>
                    <a:pt x="49" y="39"/>
                    <a:pt x="47" y="41"/>
                    <a:pt x="47" y="44"/>
                  </a:cubicBezTo>
                  <a:cubicBezTo>
                    <a:pt x="47" y="112"/>
                    <a:pt x="47" y="112"/>
                    <a:pt x="47" y="112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81" y="75"/>
                  </a:moveTo>
                  <a:cubicBezTo>
                    <a:pt x="80" y="75"/>
                    <a:pt x="79" y="76"/>
                    <a:pt x="78" y="76"/>
                  </a:cubicBezTo>
                  <a:cubicBezTo>
                    <a:pt x="76" y="77"/>
                    <a:pt x="75" y="78"/>
                    <a:pt x="74" y="79"/>
                  </a:cubicBezTo>
                  <a:cubicBezTo>
                    <a:pt x="73" y="80"/>
                    <a:pt x="71" y="83"/>
                    <a:pt x="71" y="87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1" y="100"/>
                    <a:pt x="73" y="102"/>
                    <a:pt x="76" y="102"/>
                  </a:cubicBezTo>
                  <a:cubicBezTo>
                    <a:pt x="79" y="102"/>
                    <a:pt x="81" y="100"/>
                    <a:pt x="81" y="96"/>
                  </a:cubicBezTo>
                  <a:lnTo>
                    <a:pt x="81" y="75"/>
                  </a:lnTo>
                  <a:close/>
                  <a:moveTo>
                    <a:pt x="62" y="86"/>
                  </a:moveTo>
                  <a:cubicBezTo>
                    <a:pt x="62" y="79"/>
                    <a:pt x="64" y="74"/>
                    <a:pt x="69" y="71"/>
                  </a:cubicBezTo>
                  <a:cubicBezTo>
                    <a:pt x="72" y="69"/>
                    <a:pt x="74" y="67"/>
                    <a:pt x="76" y="66"/>
                  </a:cubicBezTo>
                  <a:cubicBezTo>
                    <a:pt x="78" y="65"/>
                    <a:pt x="80" y="63"/>
                    <a:pt x="81" y="62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1"/>
                    <a:pt x="80" y="39"/>
                    <a:pt x="76" y="39"/>
                  </a:cubicBezTo>
                  <a:cubicBezTo>
                    <a:pt x="74" y="39"/>
                    <a:pt x="73" y="41"/>
                    <a:pt x="73" y="44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3" y="35"/>
                    <a:pt x="67" y="29"/>
                    <a:pt x="76" y="29"/>
                  </a:cubicBezTo>
                  <a:cubicBezTo>
                    <a:pt x="86" y="29"/>
                    <a:pt x="91" y="35"/>
                    <a:pt x="91" y="49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81" y="112"/>
                    <a:pt x="81" y="112"/>
                    <a:pt x="81" y="112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79" y="110"/>
                    <a:pt x="77" y="112"/>
                    <a:pt x="73" y="112"/>
                  </a:cubicBezTo>
                  <a:cubicBezTo>
                    <a:pt x="66" y="112"/>
                    <a:pt x="62" y="105"/>
                    <a:pt x="62" y="92"/>
                  </a:cubicBezTo>
                  <a:cubicBezTo>
                    <a:pt x="62" y="86"/>
                    <a:pt x="62" y="86"/>
                    <a:pt x="62" y="86"/>
                  </a:cubicBezTo>
                  <a:close/>
                  <a:moveTo>
                    <a:pt x="99" y="29"/>
                  </a:moveTo>
                  <a:cubicBezTo>
                    <a:pt x="125" y="29"/>
                    <a:pt x="125" y="29"/>
                    <a:pt x="125" y="29"/>
                  </a:cubicBezTo>
                  <a:cubicBezTo>
                    <a:pt x="125" y="41"/>
                    <a:pt x="125" y="41"/>
                    <a:pt x="125" y="41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25" y="102"/>
                    <a:pt x="125" y="102"/>
                    <a:pt x="125" y="102"/>
                  </a:cubicBezTo>
                  <a:cubicBezTo>
                    <a:pt x="125" y="112"/>
                    <a:pt x="125" y="112"/>
                    <a:pt x="125" y="112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99" y="39"/>
                    <a:pt x="99" y="39"/>
                    <a:pt x="99" y="39"/>
                  </a:cubicBezTo>
                  <a:lnTo>
                    <a:pt x="99" y="29"/>
                  </a:lnTo>
                  <a:close/>
                  <a:moveTo>
                    <a:pt x="143" y="16"/>
                  </a:moveTo>
                  <a:cubicBezTo>
                    <a:pt x="133" y="16"/>
                    <a:pt x="133" y="16"/>
                    <a:pt x="133" y="16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43" y="0"/>
                    <a:pt x="143" y="0"/>
                    <a:pt x="143" y="0"/>
                  </a:cubicBezTo>
                  <a:lnTo>
                    <a:pt x="143" y="16"/>
                  </a:lnTo>
                  <a:close/>
                  <a:moveTo>
                    <a:pt x="143" y="112"/>
                  </a:moveTo>
                  <a:cubicBezTo>
                    <a:pt x="133" y="112"/>
                    <a:pt x="133" y="112"/>
                    <a:pt x="133" y="112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43" y="29"/>
                    <a:pt x="143" y="29"/>
                    <a:pt x="143" y="29"/>
                  </a:cubicBezTo>
                  <a:lnTo>
                    <a:pt x="143" y="112"/>
                  </a:lnTo>
                  <a:close/>
                  <a:moveTo>
                    <a:pt x="161" y="62"/>
                  </a:moveTo>
                  <a:cubicBezTo>
                    <a:pt x="171" y="62"/>
                    <a:pt x="171" y="62"/>
                    <a:pt x="171" y="62"/>
                  </a:cubicBezTo>
                  <a:cubicBezTo>
                    <a:pt x="171" y="44"/>
                    <a:pt x="171" y="44"/>
                    <a:pt x="171" y="44"/>
                  </a:cubicBezTo>
                  <a:cubicBezTo>
                    <a:pt x="171" y="41"/>
                    <a:pt x="169" y="39"/>
                    <a:pt x="166" y="39"/>
                  </a:cubicBezTo>
                  <a:cubicBezTo>
                    <a:pt x="163" y="39"/>
                    <a:pt x="161" y="41"/>
                    <a:pt x="161" y="44"/>
                  </a:cubicBezTo>
                  <a:lnTo>
                    <a:pt x="161" y="62"/>
                  </a:lnTo>
                  <a:close/>
                  <a:moveTo>
                    <a:pt x="161" y="96"/>
                  </a:moveTo>
                  <a:cubicBezTo>
                    <a:pt x="161" y="100"/>
                    <a:pt x="163" y="102"/>
                    <a:pt x="166" y="102"/>
                  </a:cubicBezTo>
                  <a:cubicBezTo>
                    <a:pt x="169" y="102"/>
                    <a:pt x="171" y="100"/>
                    <a:pt x="171" y="96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80" y="80"/>
                    <a:pt x="180" y="80"/>
                    <a:pt x="180" y="80"/>
                  </a:cubicBezTo>
                  <a:cubicBezTo>
                    <a:pt x="180" y="92"/>
                    <a:pt x="180" y="92"/>
                    <a:pt x="180" y="92"/>
                  </a:cubicBezTo>
                  <a:cubicBezTo>
                    <a:pt x="180" y="105"/>
                    <a:pt x="176" y="112"/>
                    <a:pt x="166" y="112"/>
                  </a:cubicBezTo>
                  <a:cubicBezTo>
                    <a:pt x="156" y="112"/>
                    <a:pt x="152" y="105"/>
                    <a:pt x="152" y="92"/>
                  </a:cubicBezTo>
                  <a:cubicBezTo>
                    <a:pt x="152" y="49"/>
                    <a:pt x="152" y="49"/>
                    <a:pt x="152" y="49"/>
                  </a:cubicBezTo>
                  <a:cubicBezTo>
                    <a:pt x="152" y="35"/>
                    <a:pt x="156" y="29"/>
                    <a:pt x="166" y="29"/>
                  </a:cubicBezTo>
                  <a:cubicBezTo>
                    <a:pt x="176" y="29"/>
                    <a:pt x="180" y="35"/>
                    <a:pt x="180" y="49"/>
                  </a:cubicBezTo>
                  <a:cubicBezTo>
                    <a:pt x="180" y="72"/>
                    <a:pt x="180" y="72"/>
                    <a:pt x="180" y="72"/>
                  </a:cubicBezTo>
                  <a:cubicBezTo>
                    <a:pt x="161" y="72"/>
                    <a:pt x="161" y="72"/>
                    <a:pt x="161" y="72"/>
                  </a:cubicBezTo>
                  <a:cubicBezTo>
                    <a:pt x="161" y="96"/>
                    <a:pt x="161" y="96"/>
                    <a:pt x="161" y="9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 noEditPoints="1"/>
            </p:cNvSpPr>
            <p:nvPr/>
          </p:nvSpPr>
          <p:spPr bwMode="auto">
            <a:xfrm>
              <a:off x="2159001" y="2310221"/>
              <a:ext cx="234950" cy="607219"/>
            </a:xfrm>
            <a:custGeom>
              <a:avLst/>
              <a:gdLst/>
              <a:ahLst/>
              <a:cxnLst>
                <a:cxn ang="0">
                  <a:pos x="10" y="252"/>
                </a:cxn>
                <a:cxn ang="0">
                  <a:pos x="83" y="257"/>
                </a:cxn>
                <a:cxn ang="0">
                  <a:pos x="15" y="267"/>
                </a:cxn>
                <a:cxn ang="0">
                  <a:pos x="15" y="276"/>
                </a:cxn>
                <a:cxn ang="0">
                  <a:pos x="83" y="286"/>
                </a:cxn>
                <a:cxn ang="0">
                  <a:pos x="0" y="276"/>
                </a:cxn>
                <a:cxn ang="0">
                  <a:pos x="0" y="268"/>
                </a:cxn>
                <a:cxn ang="0">
                  <a:pos x="0" y="249"/>
                </a:cxn>
                <a:cxn ang="0">
                  <a:pos x="83" y="237"/>
                </a:cxn>
                <a:cxn ang="0">
                  <a:pos x="15" y="247"/>
                </a:cxn>
                <a:cxn ang="0">
                  <a:pos x="47" y="213"/>
                </a:cxn>
                <a:cxn ang="0">
                  <a:pos x="58" y="219"/>
                </a:cxn>
                <a:cxn ang="0">
                  <a:pos x="73" y="215"/>
                </a:cxn>
                <a:cxn ang="0">
                  <a:pos x="46" y="209"/>
                </a:cxn>
                <a:cxn ang="0">
                  <a:pos x="42" y="222"/>
                </a:cxn>
                <a:cxn ang="0">
                  <a:pos x="33" y="209"/>
                </a:cxn>
                <a:cxn ang="0">
                  <a:pos x="10" y="214"/>
                </a:cxn>
                <a:cxn ang="0">
                  <a:pos x="31" y="218"/>
                </a:cxn>
                <a:cxn ang="0">
                  <a:pos x="19" y="228"/>
                </a:cxn>
                <a:cxn ang="0">
                  <a:pos x="19" y="200"/>
                </a:cxn>
                <a:cxn ang="0">
                  <a:pos x="83" y="209"/>
                </a:cxn>
                <a:cxn ang="0">
                  <a:pos x="83" y="217"/>
                </a:cxn>
                <a:cxn ang="0">
                  <a:pos x="57" y="229"/>
                </a:cxn>
                <a:cxn ang="0">
                  <a:pos x="73" y="177"/>
                </a:cxn>
                <a:cxn ang="0">
                  <a:pos x="0" y="172"/>
                </a:cxn>
                <a:cxn ang="0">
                  <a:pos x="83" y="162"/>
                </a:cxn>
                <a:cxn ang="0">
                  <a:pos x="79" y="172"/>
                </a:cxn>
                <a:cxn ang="0">
                  <a:pos x="63" y="191"/>
                </a:cxn>
                <a:cxn ang="0">
                  <a:pos x="0" y="182"/>
                </a:cxn>
                <a:cxn ang="0">
                  <a:pos x="4" y="144"/>
                </a:cxn>
                <a:cxn ang="0">
                  <a:pos x="12" y="135"/>
                </a:cxn>
                <a:cxn ang="0">
                  <a:pos x="15" y="144"/>
                </a:cxn>
                <a:cxn ang="0">
                  <a:pos x="83" y="153"/>
                </a:cxn>
                <a:cxn ang="0">
                  <a:pos x="0" y="144"/>
                </a:cxn>
                <a:cxn ang="0">
                  <a:pos x="67" y="119"/>
                </a:cxn>
                <a:cxn ang="0">
                  <a:pos x="67" y="110"/>
                </a:cxn>
                <a:cxn ang="0">
                  <a:pos x="0" y="100"/>
                </a:cxn>
                <a:cxn ang="0">
                  <a:pos x="83" y="110"/>
                </a:cxn>
                <a:cxn ang="0">
                  <a:pos x="83" y="118"/>
                </a:cxn>
                <a:cxn ang="0">
                  <a:pos x="0" y="129"/>
                </a:cxn>
                <a:cxn ang="0">
                  <a:pos x="67" y="119"/>
                </a:cxn>
                <a:cxn ang="0">
                  <a:pos x="73" y="77"/>
                </a:cxn>
                <a:cxn ang="0">
                  <a:pos x="0" y="72"/>
                </a:cxn>
                <a:cxn ang="0">
                  <a:pos x="83" y="62"/>
                </a:cxn>
                <a:cxn ang="0">
                  <a:pos x="79" y="72"/>
                </a:cxn>
                <a:cxn ang="0">
                  <a:pos x="63" y="91"/>
                </a:cxn>
                <a:cxn ang="0">
                  <a:pos x="0" y="82"/>
                </a:cxn>
                <a:cxn ang="0">
                  <a:pos x="4" y="44"/>
                </a:cxn>
                <a:cxn ang="0">
                  <a:pos x="12" y="36"/>
                </a:cxn>
                <a:cxn ang="0">
                  <a:pos x="15" y="44"/>
                </a:cxn>
                <a:cxn ang="0">
                  <a:pos x="83" y="54"/>
                </a:cxn>
                <a:cxn ang="0">
                  <a:pos x="0" y="44"/>
                </a:cxn>
                <a:cxn ang="0">
                  <a:pos x="67" y="20"/>
                </a:cxn>
                <a:cxn ang="0">
                  <a:pos x="67" y="10"/>
                </a:cxn>
                <a:cxn ang="0">
                  <a:pos x="0" y="0"/>
                </a:cxn>
                <a:cxn ang="0">
                  <a:pos x="83" y="10"/>
                </a:cxn>
                <a:cxn ang="0">
                  <a:pos x="83" y="18"/>
                </a:cxn>
                <a:cxn ang="0">
                  <a:pos x="0" y="29"/>
                </a:cxn>
                <a:cxn ang="0">
                  <a:pos x="67" y="20"/>
                </a:cxn>
              </a:cxnLst>
              <a:rect l="0" t="0" r="r" b="b"/>
              <a:pathLst>
                <a:path w="83" h="286">
                  <a:moveTo>
                    <a:pt x="15" y="247"/>
                  </a:moveTo>
                  <a:cubicBezTo>
                    <a:pt x="12" y="247"/>
                    <a:pt x="10" y="249"/>
                    <a:pt x="10" y="252"/>
                  </a:cubicBezTo>
                  <a:cubicBezTo>
                    <a:pt x="10" y="255"/>
                    <a:pt x="12" y="257"/>
                    <a:pt x="15" y="257"/>
                  </a:cubicBezTo>
                  <a:cubicBezTo>
                    <a:pt x="83" y="257"/>
                    <a:pt x="83" y="257"/>
                    <a:pt x="83" y="257"/>
                  </a:cubicBezTo>
                  <a:cubicBezTo>
                    <a:pt x="83" y="267"/>
                    <a:pt x="83" y="267"/>
                    <a:pt x="83" y="267"/>
                  </a:cubicBezTo>
                  <a:cubicBezTo>
                    <a:pt x="15" y="267"/>
                    <a:pt x="15" y="267"/>
                    <a:pt x="15" y="267"/>
                  </a:cubicBezTo>
                  <a:cubicBezTo>
                    <a:pt x="12" y="267"/>
                    <a:pt x="10" y="268"/>
                    <a:pt x="10" y="271"/>
                  </a:cubicBezTo>
                  <a:cubicBezTo>
                    <a:pt x="10" y="274"/>
                    <a:pt x="12" y="276"/>
                    <a:pt x="15" y="276"/>
                  </a:cubicBezTo>
                  <a:cubicBezTo>
                    <a:pt x="83" y="276"/>
                    <a:pt x="83" y="276"/>
                    <a:pt x="83" y="276"/>
                  </a:cubicBezTo>
                  <a:cubicBezTo>
                    <a:pt x="83" y="286"/>
                    <a:pt x="83" y="286"/>
                    <a:pt x="83" y="286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0" y="276"/>
                    <a:pt x="0" y="276"/>
                    <a:pt x="0" y="276"/>
                  </a:cubicBezTo>
                  <a:cubicBezTo>
                    <a:pt x="4" y="276"/>
                    <a:pt x="4" y="276"/>
                    <a:pt x="4" y="276"/>
                  </a:cubicBezTo>
                  <a:cubicBezTo>
                    <a:pt x="1" y="275"/>
                    <a:pt x="0" y="272"/>
                    <a:pt x="0" y="268"/>
                  </a:cubicBezTo>
                  <a:cubicBezTo>
                    <a:pt x="0" y="264"/>
                    <a:pt x="2" y="262"/>
                    <a:pt x="5" y="259"/>
                  </a:cubicBezTo>
                  <a:cubicBezTo>
                    <a:pt x="2" y="257"/>
                    <a:pt x="0" y="254"/>
                    <a:pt x="0" y="249"/>
                  </a:cubicBezTo>
                  <a:cubicBezTo>
                    <a:pt x="0" y="241"/>
                    <a:pt x="6" y="237"/>
                    <a:pt x="19" y="237"/>
                  </a:cubicBezTo>
                  <a:cubicBezTo>
                    <a:pt x="83" y="237"/>
                    <a:pt x="83" y="237"/>
                    <a:pt x="83" y="237"/>
                  </a:cubicBezTo>
                  <a:cubicBezTo>
                    <a:pt x="83" y="247"/>
                    <a:pt x="83" y="247"/>
                    <a:pt x="83" y="247"/>
                  </a:cubicBezTo>
                  <a:cubicBezTo>
                    <a:pt x="15" y="247"/>
                    <a:pt x="15" y="247"/>
                    <a:pt x="15" y="247"/>
                  </a:cubicBezTo>
                  <a:close/>
                  <a:moveTo>
                    <a:pt x="46" y="209"/>
                  </a:moveTo>
                  <a:cubicBezTo>
                    <a:pt x="46" y="211"/>
                    <a:pt x="47" y="212"/>
                    <a:pt x="47" y="213"/>
                  </a:cubicBezTo>
                  <a:cubicBezTo>
                    <a:pt x="48" y="214"/>
                    <a:pt x="49" y="215"/>
                    <a:pt x="50" y="216"/>
                  </a:cubicBezTo>
                  <a:cubicBezTo>
                    <a:pt x="51" y="218"/>
                    <a:pt x="54" y="219"/>
                    <a:pt x="58" y="219"/>
                  </a:cubicBezTo>
                  <a:cubicBezTo>
                    <a:pt x="67" y="219"/>
                    <a:pt x="67" y="219"/>
                    <a:pt x="67" y="219"/>
                  </a:cubicBezTo>
                  <a:cubicBezTo>
                    <a:pt x="71" y="219"/>
                    <a:pt x="73" y="218"/>
                    <a:pt x="73" y="215"/>
                  </a:cubicBezTo>
                  <a:cubicBezTo>
                    <a:pt x="73" y="212"/>
                    <a:pt x="71" y="209"/>
                    <a:pt x="67" y="209"/>
                  </a:cubicBezTo>
                  <a:cubicBezTo>
                    <a:pt x="46" y="209"/>
                    <a:pt x="46" y="209"/>
                    <a:pt x="46" y="209"/>
                  </a:cubicBezTo>
                  <a:close/>
                  <a:moveTo>
                    <a:pt x="57" y="229"/>
                  </a:moveTo>
                  <a:cubicBezTo>
                    <a:pt x="50" y="229"/>
                    <a:pt x="45" y="226"/>
                    <a:pt x="42" y="222"/>
                  </a:cubicBezTo>
                  <a:cubicBezTo>
                    <a:pt x="40" y="219"/>
                    <a:pt x="38" y="217"/>
                    <a:pt x="37" y="215"/>
                  </a:cubicBezTo>
                  <a:cubicBezTo>
                    <a:pt x="36" y="213"/>
                    <a:pt x="34" y="211"/>
                    <a:pt x="33" y="209"/>
                  </a:cubicBezTo>
                  <a:cubicBezTo>
                    <a:pt x="15" y="209"/>
                    <a:pt x="15" y="209"/>
                    <a:pt x="15" y="209"/>
                  </a:cubicBezTo>
                  <a:cubicBezTo>
                    <a:pt x="12" y="209"/>
                    <a:pt x="10" y="211"/>
                    <a:pt x="10" y="214"/>
                  </a:cubicBezTo>
                  <a:cubicBezTo>
                    <a:pt x="10" y="217"/>
                    <a:pt x="12" y="218"/>
                    <a:pt x="15" y="218"/>
                  </a:cubicBezTo>
                  <a:cubicBezTo>
                    <a:pt x="31" y="218"/>
                    <a:pt x="31" y="218"/>
                    <a:pt x="31" y="218"/>
                  </a:cubicBezTo>
                  <a:cubicBezTo>
                    <a:pt x="31" y="228"/>
                    <a:pt x="31" y="228"/>
                    <a:pt x="31" y="228"/>
                  </a:cubicBezTo>
                  <a:cubicBezTo>
                    <a:pt x="19" y="228"/>
                    <a:pt x="19" y="228"/>
                    <a:pt x="19" y="228"/>
                  </a:cubicBezTo>
                  <a:cubicBezTo>
                    <a:pt x="6" y="228"/>
                    <a:pt x="0" y="223"/>
                    <a:pt x="0" y="214"/>
                  </a:cubicBezTo>
                  <a:cubicBezTo>
                    <a:pt x="0" y="205"/>
                    <a:pt x="6" y="200"/>
                    <a:pt x="19" y="200"/>
                  </a:cubicBezTo>
                  <a:cubicBezTo>
                    <a:pt x="83" y="200"/>
                    <a:pt x="83" y="200"/>
                    <a:pt x="83" y="200"/>
                  </a:cubicBezTo>
                  <a:cubicBezTo>
                    <a:pt x="83" y="209"/>
                    <a:pt x="83" y="209"/>
                    <a:pt x="83" y="209"/>
                  </a:cubicBezTo>
                  <a:cubicBezTo>
                    <a:pt x="79" y="209"/>
                    <a:pt x="79" y="209"/>
                    <a:pt x="79" y="209"/>
                  </a:cubicBezTo>
                  <a:cubicBezTo>
                    <a:pt x="81" y="211"/>
                    <a:pt x="83" y="214"/>
                    <a:pt x="83" y="217"/>
                  </a:cubicBezTo>
                  <a:cubicBezTo>
                    <a:pt x="83" y="225"/>
                    <a:pt x="76" y="229"/>
                    <a:pt x="63" y="229"/>
                  </a:cubicBezTo>
                  <a:cubicBezTo>
                    <a:pt x="57" y="229"/>
                    <a:pt x="57" y="229"/>
                    <a:pt x="57" y="229"/>
                  </a:cubicBezTo>
                  <a:close/>
                  <a:moveTo>
                    <a:pt x="67" y="182"/>
                  </a:moveTo>
                  <a:cubicBezTo>
                    <a:pt x="70" y="182"/>
                    <a:pt x="73" y="180"/>
                    <a:pt x="73" y="177"/>
                  </a:cubicBezTo>
                  <a:cubicBezTo>
                    <a:pt x="73" y="173"/>
                    <a:pt x="70" y="172"/>
                    <a:pt x="67" y="172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83" y="162"/>
                    <a:pt x="83" y="162"/>
                    <a:pt x="83" y="162"/>
                  </a:cubicBezTo>
                  <a:cubicBezTo>
                    <a:pt x="83" y="172"/>
                    <a:pt x="83" y="172"/>
                    <a:pt x="83" y="172"/>
                  </a:cubicBezTo>
                  <a:cubicBezTo>
                    <a:pt x="79" y="172"/>
                    <a:pt x="79" y="172"/>
                    <a:pt x="79" y="172"/>
                  </a:cubicBezTo>
                  <a:cubicBezTo>
                    <a:pt x="82" y="173"/>
                    <a:pt x="83" y="176"/>
                    <a:pt x="83" y="180"/>
                  </a:cubicBezTo>
                  <a:cubicBezTo>
                    <a:pt x="83" y="187"/>
                    <a:pt x="76" y="191"/>
                    <a:pt x="63" y="191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67" y="182"/>
                    <a:pt x="67" y="182"/>
                    <a:pt x="67" y="182"/>
                  </a:cubicBezTo>
                  <a:close/>
                  <a:moveTo>
                    <a:pt x="4" y="144"/>
                  </a:moveTo>
                  <a:cubicBezTo>
                    <a:pt x="1" y="142"/>
                    <a:pt x="0" y="140"/>
                    <a:pt x="0" y="135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1" y="136"/>
                    <a:pt x="10" y="137"/>
                    <a:pt x="10" y="139"/>
                  </a:cubicBezTo>
                  <a:cubicBezTo>
                    <a:pt x="10" y="142"/>
                    <a:pt x="12" y="144"/>
                    <a:pt x="15" y="144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53"/>
                    <a:pt x="83" y="153"/>
                    <a:pt x="83" y="153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44"/>
                    <a:pt x="0" y="144"/>
                    <a:pt x="0" y="144"/>
                  </a:cubicBezTo>
                  <a:lnTo>
                    <a:pt x="4" y="144"/>
                  </a:lnTo>
                  <a:close/>
                  <a:moveTo>
                    <a:pt x="67" y="119"/>
                  </a:moveTo>
                  <a:cubicBezTo>
                    <a:pt x="70" y="119"/>
                    <a:pt x="73" y="118"/>
                    <a:pt x="73" y="115"/>
                  </a:cubicBezTo>
                  <a:cubicBezTo>
                    <a:pt x="73" y="112"/>
                    <a:pt x="70" y="110"/>
                    <a:pt x="67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83" y="100"/>
                    <a:pt x="83" y="100"/>
                    <a:pt x="83" y="100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79" y="110"/>
                    <a:pt x="79" y="110"/>
                    <a:pt x="79" y="110"/>
                  </a:cubicBezTo>
                  <a:cubicBezTo>
                    <a:pt x="82" y="111"/>
                    <a:pt x="83" y="114"/>
                    <a:pt x="83" y="118"/>
                  </a:cubicBezTo>
                  <a:cubicBezTo>
                    <a:pt x="83" y="125"/>
                    <a:pt x="76" y="129"/>
                    <a:pt x="63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67" y="119"/>
                    <a:pt x="67" y="119"/>
                    <a:pt x="67" y="119"/>
                  </a:cubicBezTo>
                  <a:close/>
                  <a:moveTo>
                    <a:pt x="67" y="82"/>
                  </a:moveTo>
                  <a:cubicBezTo>
                    <a:pt x="70" y="82"/>
                    <a:pt x="73" y="80"/>
                    <a:pt x="73" y="77"/>
                  </a:cubicBezTo>
                  <a:cubicBezTo>
                    <a:pt x="73" y="73"/>
                    <a:pt x="70" y="72"/>
                    <a:pt x="67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82" y="73"/>
                    <a:pt x="83" y="76"/>
                    <a:pt x="83" y="80"/>
                  </a:cubicBezTo>
                  <a:cubicBezTo>
                    <a:pt x="83" y="87"/>
                    <a:pt x="76" y="91"/>
                    <a:pt x="63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82"/>
                    <a:pt x="0" y="82"/>
                    <a:pt x="0" y="82"/>
                  </a:cubicBezTo>
                  <a:lnTo>
                    <a:pt x="67" y="82"/>
                  </a:lnTo>
                  <a:close/>
                  <a:moveTo>
                    <a:pt x="4" y="44"/>
                  </a:moveTo>
                  <a:cubicBezTo>
                    <a:pt x="1" y="43"/>
                    <a:pt x="0" y="40"/>
                    <a:pt x="0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1" y="36"/>
                    <a:pt x="10" y="37"/>
                    <a:pt x="10" y="39"/>
                  </a:cubicBezTo>
                  <a:cubicBezTo>
                    <a:pt x="10" y="42"/>
                    <a:pt x="12" y="44"/>
                    <a:pt x="15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4" y="44"/>
                    <a:pt x="4" y="44"/>
                    <a:pt x="4" y="44"/>
                  </a:cubicBezTo>
                  <a:close/>
                  <a:moveTo>
                    <a:pt x="67" y="20"/>
                  </a:moveTo>
                  <a:cubicBezTo>
                    <a:pt x="70" y="20"/>
                    <a:pt x="73" y="18"/>
                    <a:pt x="73" y="15"/>
                  </a:cubicBezTo>
                  <a:cubicBezTo>
                    <a:pt x="73" y="11"/>
                    <a:pt x="70" y="10"/>
                    <a:pt x="67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82" y="11"/>
                    <a:pt x="83" y="14"/>
                    <a:pt x="83" y="18"/>
                  </a:cubicBezTo>
                  <a:cubicBezTo>
                    <a:pt x="83" y="26"/>
                    <a:pt x="76" y="29"/>
                    <a:pt x="63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67" y="20"/>
                    <a:pt x="67" y="20"/>
                    <a:pt x="67" y="2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1812927" y="2581684"/>
              <a:ext cx="315913" cy="327422"/>
            </a:xfrm>
            <a:custGeom>
              <a:avLst/>
              <a:gdLst/>
              <a:ahLst/>
              <a:cxnLst>
                <a:cxn ang="0">
                  <a:pos x="38" y="139"/>
                </a:cxn>
                <a:cxn ang="0">
                  <a:pos x="111" y="144"/>
                </a:cxn>
                <a:cxn ang="0">
                  <a:pos x="0" y="154"/>
                </a:cxn>
                <a:cxn ang="0">
                  <a:pos x="32" y="144"/>
                </a:cxn>
                <a:cxn ang="0">
                  <a:pos x="48" y="125"/>
                </a:cxn>
                <a:cxn ang="0">
                  <a:pos x="111" y="134"/>
                </a:cxn>
                <a:cxn ang="0">
                  <a:pos x="65" y="102"/>
                </a:cxn>
                <a:cxn ang="0">
                  <a:pos x="28" y="87"/>
                </a:cxn>
                <a:cxn ang="0">
                  <a:pos x="111" y="108"/>
                </a:cxn>
                <a:cxn ang="0">
                  <a:pos x="28" y="109"/>
                </a:cxn>
                <a:cxn ang="0">
                  <a:pos x="83" y="104"/>
                </a:cxn>
                <a:cxn ang="0">
                  <a:pos x="74" y="63"/>
                </a:cxn>
                <a:cxn ang="0">
                  <a:pos x="78" y="70"/>
                </a:cxn>
                <a:cxn ang="0">
                  <a:pos x="96" y="73"/>
                </a:cxn>
                <a:cxn ang="0">
                  <a:pos x="96" y="63"/>
                </a:cxn>
                <a:cxn ang="0">
                  <a:pos x="85" y="82"/>
                </a:cxn>
                <a:cxn ang="0">
                  <a:pos x="65" y="68"/>
                </a:cxn>
                <a:cxn ang="0">
                  <a:pos x="44" y="63"/>
                </a:cxn>
                <a:cxn ang="0">
                  <a:pos x="44" y="72"/>
                </a:cxn>
                <a:cxn ang="0">
                  <a:pos x="60" y="81"/>
                </a:cxn>
                <a:cxn ang="0">
                  <a:pos x="28" y="68"/>
                </a:cxn>
                <a:cxn ang="0">
                  <a:pos x="111" y="54"/>
                </a:cxn>
                <a:cxn ang="0">
                  <a:pos x="108" y="63"/>
                </a:cxn>
                <a:cxn ang="0">
                  <a:pos x="91" y="82"/>
                </a:cxn>
                <a:cxn ang="0">
                  <a:pos x="0" y="46"/>
                </a:cxn>
                <a:cxn ang="0">
                  <a:pos x="111" y="36"/>
                </a:cxn>
                <a:cxn ang="0">
                  <a:pos x="0" y="46"/>
                </a:cxn>
                <a:cxn ang="0">
                  <a:pos x="76" y="13"/>
                </a:cxn>
                <a:cxn ang="0">
                  <a:pos x="86" y="19"/>
                </a:cxn>
                <a:cxn ang="0">
                  <a:pos x="101" y="14"/>
                </a:cxn>
                <a:cxn ang="0">
                  <a:pos x="74" y="9"/>
                </a:cxn>
                <a:cxn ang="0">
                  <a:pos x="71" y="21"/>
                </a:cxn>
                <a:cxn ang="0">
                  <a:pos x="62" y="9"/>
                </a:cxn>
                <a:cxn ang="0">
                  <a:pos x="38" y="14"/>
                </a:cxn>
                <a:cxn ang="0">
                  <a:pos x="60" y="18"/>
                </a:cxn>
                <a:cxn ang="0">
                  <a:pos x="48" y="27"/>
                </a:cxn>
                <a:cxn ang="0">
                  <a:pos x="48" y="0"/>
                </a:cxn>
                <a:cxn ang="0">
                  <a:pos x="111" y="9"/>
                </a:cxn>
                <a:cxn ang="0">
                  <a:pos x="111" y="17"/>
                </a:cxn>
                <a:cxn ang="0">
                  <a:pos x="85" y="28"/>
                </a:cxn>
              </a:cxnLst>
              <a:rect l="0" t="0" r="r" b="b"/>
              <a:pathLst>
                <a:path w="111" h="154">
                  <a:moveTo>
                    <a:pt x="44" y="134"/>
                  </a:moveTo>
                  <a:cubicBezTo>
                    <a:pt x="40" y="134"/>
                    <a:pt x="38" y="136"/>
                    <a:pt x="38" y="139"/>
                  </a:cubicBezTo>
                  <a:cubicBezTo>
                    <a:pt x="38" y="143"/>
                    <a:pt x="40" y="144"/>
                    <a:pt x="44" y="144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29" y="143"/>
                    <a:pt x="28" y="140"/>
                    <a:pt x="28" y="136"/>
                  </a:cubicBezTo>
                  <a:cubicBezTo>
                    <a:pt x="28" y="128"/>
                    <a:pt x="35" y="125"/>
                    <a:pt x="48" y="125"/>
                  </a:cubicBezTo>
                  <a:cubicBezTo>
                    <a:pt x="111" y="125"/>
                    <a:pt x="111" y="125"/>
                    <a:pt x="111" y="125"/>
                  </a:cubicBezTo>
                  <a:cubicBezTo>
                    <a:pt x="111" y="134"/>
                    <a:pt x="111" y="134"/>
                    <a:pt x="111" y="134"/>
                  </a:cubicBezTo>
                  <a:cubicBezTo>
                    <a:pt x="44" y="134"/>
                    <a:pt x="44" y="134"/>
                    <a:pt x="44" y="134"/>
                  </a:cubicBezTo>
                  <a:close/>
                  <a:moveTo>
                    <a:pt x="65" y="102"/>
                  </a:moveTo>
                  <a:cubicBezTo>
                    <a:pt x="28" y="98"/>
                    <a:pt x="28" y="98"/>
                    <a:pt x="28" y="98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83" y="104"/>
                    <a:pt x="83" y="104"/>
                    <a:pt x="83" y="104"/>
                  </a:cubicBezTo>
                  <a:lnTo>
                    <a:pt x="65" y="102"/>
                  </a:lnTo>
                  <a:close/>
                  <a:moveTo>
                    <a:pt x="74" y="63"/>
                  </a:moveTo>
                  <a:cubicBezTo>
                    <a:pt x="74" y="64"/>
                    <a:pt x="76" y="66"/>
                    <a:pt x="76" y="67"/>
                  </a:cubicBezTo>
                  <a:cubicBezTo>
                    <a:pt x="77" y="68"/>
                    <a:pt x="78" y="69"/>
                    <a:pt x="78" y="70"/>
                  </a:cubicBezTo>
                  <a:cubicBezTo>
                    <a:pt x="80" y="72"/>
                    <a:pt x="83" y="73"/>
                    <a:pt x="86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100" y="73"/>
                    <a:pt x="101" y="71"/>
                    <a:pt x="101" y="68"/>
                  </a:cubicBezTo>
                  <a:cubicBezTo>
                    <a:pt x="101" y="65"/>
                    <a:pt x="99" y="63"/>
                    <a:pt x="96" y="63"/>
                  </a:cubicBezTo>
                  <a:cubicBezTo>
                    <a:pt x="74" y="63"/>
                    <a:pt x="74" y="63"/>
                    <a:pt x="74" y="63"/>
                  </a:cubicBezTo>
                  <a:close/>
                  <a:moveTo>
                    <a:pt x="85" y="82"/>
                  </a:moveTo>
                  <a:cubicBezTo>
                    <a:pt x="79" y="82"/>
                    <a:pt x="74" y="80"/>
                    <a:pt x="71" y="75"/>
                  </a:cubicBezTo>
                  <a:cubicBezTo>
                    <a:pt x="69" y="72"/>
                    <a:pt x="67" y="70"/>
                    <a:pt x="65" y="68"/>
                  </a:cubicBezTo>
                  <a:cubicBezTo>
                    <a:pt x="64" y="66"/>
                    <a:pt x="63" y="64"/>
                    <a:pt x="62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0" y="63"/>
                    <a:pt x="38" y="64"/>
                    <a:pt x="38" y="68"/>
                  </a:cubicBezTo>
                  <a:cubicBezTo>
                    <a:pt x="38" y="71"/>
                    <a:pt x="40" y="72"/>
                    <a:pt x="44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35" y="81"/>
                    <a:pt x="28" y="77"/>
                    <a:pt x="28" y="68"/>
                  </a:cubicBezTo>
                  <a:cubicBezTo>
                    <a:pt x="28" y="58"/>
                    <a:pt x="35" y="54"/>
                    <a:pt x="48" y="54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11" y="63"/>
                    <a:pt x="111" y="63"/>
                    <a:pt x="111" y="63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10" y="65"/>
                    <a:pt x="111" y="67"/>
                    <a:pt x="111" y="71"/>
                  </a:cubicBezTo>
                  <a:cubicBezTo>
                    <a:pt x="111" y="78"/>
                    <a:pt x="105" y="82"/>
                    <a:pt x="91" y="82"/>
                  </a:cubicBezTo>
                  <a:cubicBezTo>
                    <a:pt x="85" y="82"/>
                    <a:pt x="85" y="82"/>
                    <a:pt x="85" y="82"/>
                  </a:cubicBezTo>
                  <a:close/>
                  <a:moveTo>
                    <a:pt x="0" y="4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46"/>
                    <a:pt x="111" y="46"/>
                    <a:pt x="111" y="46"/>
                  </a:cubicBezTo>
                  <a:lnTo>
                    <a:pt x="0" y="46"/>
                  </a:lnTo>
                  <a:close/>
                  <a:moveTo>
                    <a:pt x="74" y="9"/>
                  </a:moveTo>
                  <a:cubicBezTo>
                    <a:pt x="74" y="10"/>
                    <a:pt x="76" y="12"/>
                    <a:pt x="76" y="13"/>
                  </a:cubicBezTo>
                  <a:cubicBezTo>
                    <a:pt x="77" y="14"/>
                    <a:pt x="78" y="15"/>
                    <a:pt x="78" y="16"/>
                  </a:cubicBezTo>
                  <a:cubicBezTo>
                    <a:pt x="80" y="18"/>
                    <a:pt x="83" y="19"/>
                    <a:pt x="86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100" y="19"/>
                    <a:pt x="101" y="17"/>
                    <a:pt x="101" y="14"/>
                  </a:cubicBezTo>
                  <a:cubicBezTo>
                    <a:pt x="101" y="11"/>
                    <a:pt x="99" y="9"/>
                    <a:pt x="96" y="9"/>
                  </a:cubicBezTo>
                  <a:cubicBezTo>
                    <a:pt x="74" y="9"/>
                    <a:pt x="74" y="9"/>
                    <a:pt x="74" y="9"/>
                  </a:cubicBezTo>
                  <a:close/>
                  <a:moveTo>
                    <a:pt x="85" y="28"/>
                  </a:moveTo>
                  <a:cubicBezTo>
                    <a:pt x="79" y="28"/>
                    <a:pt x="74" y="26"/>
                    <a:pt x="71" y="21"/>
                  </a:cubicBezTo>
                  <a:cubicBezTo>
                    <a:pt x="69" y="19"/>
                    <a:pt x="67" y="17"/>
                    <a:pt x="65" y="14"/>
                  </a:cubicBezTo>
                  <a:cubicBezTo>
                    <a:pt x="64" y="13"/>
                    <a:pt x="63" y="11"/>
                    <a:pt x="62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0" y="9"/>
                    <a:pt x="38" y="11"/>
                    <a:pt x="38" y="14"/>
                  </a:cubicBezTo>
                  <a:cubicBezTo>
                    <a:pt x="38" y="17"/>
                    <a:pt x="40" y="18"/>
                    <a:pt x="44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35" y="27"/>
                    <a:pt x="28" y="23"/>
                    <a:pt x="28" y="14"/>
                  </a:cubicBezTo>
                  <a:cubicBezTo>
                    <a:pt x="28" y="4"/>
                    <a:pt x="35" y="0"/>
                    <a:pt x="48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9"/>
                    <a:pt x="111" y="9"/>
                    <a:pt x="111" y="9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10" y="11"/>
                    <a:pt x="111" y="13"/>
                    <a:pt x="111" y="17"/>
                  </a:cubicBezTo>
                  <a:cubicBezTo>
                    <a:pt x="111" y="25"/>
                    <a:pt x="105" y="28"/>
                    <a:pt x="91" y="28"/>
                  </a:cubicBezTo>
                  <a:cubicBezTo>
                    <a:pt x="85" y="28"/>
                    <a:pt x="85" y="28"/>
                    <a:pt x="85" y="2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5286377" y="3186521"/>
              <a:ext cx="315913" cy="314325"/>
            </a:xfrm>
            <a:custGeom>
              <a:avLst/>
              <a:gdLst/>
              <a:ahLst/>
              <a:cxnLst>
                <a:cxn ang="0">
                  <a:pos x="28" y="144"/>
                </a:cxn>
                <a:cxn ang="0">
                  <a:pos x="0" y="135"/>
                </a:cxn>
                <a:cxn ang="0">
                  <a:pos x="28" y="130"/>
                </a:cxn>
                <a:cxn ang="0">
                  <a:pos x="38" y="135"/>
                </a:cxn>
                <a:cxn ang="0">
                  <a:pos x="101" y="129"/>
                </a:cxn>
                <a:cxn ang="0">
                  <a:pos x="91" y="144"/>
                </a:cxn>
                <a:cxn ang="0">
                  <a:pos x="38" y="148"/>
                </a:cxn>
                <a:cxn ang="0">
                  <a:pos x="74" y="104"/>
                </a:cxn>
                <a:cxn ang="0">
                  <a:pos x="78" y="110"/>
                </a:cxn>
                <a:cxn ang="0">
                  <a:pos x="95" y="113"/>
                </a:cxn>
                <a:cxn ang="0">
                  <a:pos x="95" y="104"/>
                </a:cxn>
                <a:cxn ang="0">
                  <a:pos x="85" y="123"/>
                </a:cxn>
                <a:cxn ang="0">
                  <a:pos x="65" y="109"/>
                </a:cxn>
                <a:cxn ang="0">
                  <a:pos x="44" y="104"/>
                </a:cxn>
                <a:cxn ang="0">
                  <a:pos x="44" y="112"/>
                </a:cxn>
                <a:cxn ang="0">
                  <a:pos x="59" y="122"/>
                </a:cxn>
                <a:cxn ang="0">
                  <a:pos x="28" y="108"/>
                </a:cxn>
                <a:cxn ang="0">
                  <a:pos x="111" y="94"/>
                </a:cxn>
                <a:cxn ang="0">
                  <a:pos x="108" y="104"/>
                </a:cxn>
                <a:cxn ang="0">
                  <a:pos x="91" y="123"/>
                </a:cxn>
                <a:cxn ang="0">
                  <a:pos x="15" y="76"/>
                </a:cxn>
                <a:cxn ang="0">
                  <a:pos x="0" y="85"/>
                </a:cxn>
                <a:cxn ang="0">
                  <a:pos x="15" y="76"/>
                </a:cxn>
                <a:cxn ang="0">
                  <a:pos x="111" y="85"/>
                </a:cxn>
                <a:cxn ang="0">
                  <a:pos x="28" y="76"/>
                </a:cxn>
                <a:cxn ang="0">
                  <a:pos x="0" y="67"/>
                </a:cxn>
                <a:cxn ang="0">
                  <a:pos x="67" y="57"/>
                </a:cxn>
                <a:cxn ang="0">
                  <a:pos x="28" y="44"/>
                </a:cxn>
                <a:cxn ang="0">
                  <a:pos x="70" y="49"/>
                </a:cxn>
                <a:cxn ang="0">
                  <a:pos x="111" y="45"/>
                </a:cxn>
                <a:cxn ang="0">
                  <a:pos x="73" y="57"/>
                </a:cxn>
                <a:cxn ang="0">
                  <a:pos x="111" y="67"/>
                </a:cxn>
                <a:cxn ang="0">
                  <a:pos x="95" y="19"/>
                </a:cxn>
                <a:cxn ang="0">
                  <a:pos x="95" y="10"/>
                </a:cxn>
                <a:cxn ang="0">
                  <a:pos x="28" y="0"/>
                </a:cxn>
                <a:cxn ang="0">
                  <a:pos x="111" y="10"/>
                </a:cxn>
                <a:cxn ang="0">
                  <a:pos x="111" y="18"/>
                </a:cxn>
                <a:cxn ang="0">
                  <a:pos x="28" y="29"/>
                </a:cxn>
                <a:cxn ang="0">
                  <a:pos x="95" y="19"/>
                </a:cxn>
              </a:cxnLst>
              <a:rect l="0" t="0" r="r" b="b"/>
              <a:pathLst>
                <a:path w="111" h="148">
                  <a:moveTo>
                    <a:pt x="28" y="148"/>
                  </a:moveTo>
                  <a:cubicBezTo>
                    <a:pt x="28" y="144"/>
                    <a:pt x="28" y="144"/>
                    <a:pt x="28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8" y="135"/>
                    <a:pt x="28" y="135"/>
                    <a:pt x="28" y="135"/>
                  </a:cubicBezTo>
                  <a:cubicBezTo>
                    <a:pt x="28" y="130"/>
                    <a:pt x="28" y="130"/>
                    <a:pt x="28" y="130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38" y="135"/>
                    <a:pt x="38" y="135"/>
                    <a:pt x="38" y="135"/>
                  </a:cubicBezTo>
                  <a:cubicBezTo>
                    <a:pt x="95" y="135"/>
                    <a:pt x="95" y="135"/>
                    <a:pt x="95" y="135"/>
                  </a:cubicBezTo>
                  <a:cubicBezTo>
                    <a:pt x="99" y="135"/>
                    <a:pt x="101" y="133"/>
                    <a:pt x="101" y="129"/>
                  </a:cubicBezTo>
                  <a:cubicBezTo>
                    <a:pt x="111" y="129"/>
                    <a:pt x="111" y="129"/>
                    <a:pt x="111" y="129"/>
                  </a:cubicBezTo>
                  <a:cubicBezTo>
                    <a:pt x="111" y="140"/>
                    <a:pt x="104" y="144"/>
                    <a:pt x="91" y="144"/>
                  </a:cubicBezTo>
                  <a:cubicBezTo>
                    <a:pt x="38" y="144"/>
                    <a:pt x="38" y="144"/>
                    <a:pt x="38" y="144"/>
                  </a:cubicBezTo>
                  <a:cubicBezTo>
                    <a:pt x="38" y="148"/>
                    <a:pt x="38" y="148"/>
                    <a:pt x="38" y="148"/>
                  </a:cubicBezTo>
                  <a:cubicBezTo>
                    <a:pt x="28" y="148"/>
                    <a:pt x="28" y="148"/>
                    <a:pt x="28" y="148"/>
                  </a:cubicBezTo>
                  <a:close/>
                  <a:moveTo>
                    <a:pt x="74" y="104"/>
                  </a:moveTo>
                  <a:cubicBezTo>
                    <a:pt x="74" y="105"/>
                    <a:pt x="75" y="106"/>
                    <a:pt x="76" y="107"/>
                  </a:cubicBezTo>
                  <a:cubicBezTo>
                    <a:pt x="77" y="108"/>
                    <a:pt x="77" y="109"/>
                    <a:pt x="78" y="110"/>
                  </a:cubicBezTo>
                  <a:cubicBezTo>
                    <a:pt x="80" y="112"/>
                    <a:pt x="82" y="113"/>
                    <a:pt x="86" y="113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9" y="113"/>
                    <a:pt x="101" y="112"/>
                    <a:pt x="101" y="109"/>
                  </a:cubicBezTo>
                  <a:cubicBezTo>
                    <a:pt x="101" y="105"/>
                    <a:pt x="99" y="104"/>
                    <a:pt x="95" y="104"/>
                  </a:cubicBezTo>
                  <a:cubicBezTo>
                    <a:pt x="74" y="104"/>
                    <a:pt x="74" y="104"/>
                    <a:pt x="74" y="104"/>
                  </a:cubicBezTo>
                  <a:close/>
                  <a:moveTo>
                    <a:pt x="85" y="123"/>
                  </a:moveTo>
                  <a:cubicBezTo>
                    <a:pt x="79" y="123"/>
                    <a:pt x="74" y="120"/>
                    <a:pt x="70" y="115"/>
                  </a:cubicBezTo>
                  <a:cubicBezTo>
                    <a:pt x="69" y="113"/>
                    <a:pt x="67" y="110"/>
                    <a:pt x="65" y="109"/>
                  </a:cubicBezTo>
                  <a:cubicBezTo>
                    <a:pt x="64" y="106"/>
                    <a:pt x="63" y="105"/>
                    <a:pt x="62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0" y="104"/>
                    <a:pt x="38" y="105"/>
                    <a:pt x="38" y="108"/>
                  </a:cubicBezTo>
                  <a:cubicBezTo>
                    <a:pt x="38" y="110"/>
                    <a:pt x="40" y="112"/>
                    <a:pt x="44" y="11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35" y="122"/>
                    <a:pt x="28" y="117"/>
                    <a:pt x="28" y="108"/>
                  </a:cubicBezTo>
                  <a:cubicBezTo>
                    <a:pt x="28" y="99"/>
                    <a:pt x="35" y="94"/>
                    <a:pt x="48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10" y="105"/>
                    <a:pt x="111" y="108"/>
                    <a:pt x="111" y="111"/>
                  </a:cubicBezTo>
                  <a:cubicBezTo>
                    <a:pt x="111" y="119"/>
                    <a:pt x="104" y="123"/>
                    <a:pt x="91" y="123"/>
                  </a:cubicBezTo>
                  <a:cubicBezTo>
                    <a:pt x="85" y="123"/>
                    <a:pt x="85" y="123"/>
                    <a:pt x="85" y="123"/>
                  </a:cubicBezTo>
                  <a:close/>
                  <a:moveTo>
                    <a:pt x="15" y="76"/>
                  </a:moveTo>
                  <a:cubicBezTo>
                    <a:pt x="15" y="85"/>
                    <a:pt x="15" y="85"/>
                    <a:pt x="15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76"/>
                    <a:pt x="0" y="76"/>
                    <a:pt x="0" y="76"/>
                  </a:cubicBezTo>
                  <a:lnTo>
                    <a:pt x="15" y="76"/>
                  </a:lnTo>
                  <a:close/>
                  <a:moveTo>
                    <a:pt x="111" y="76"/>
                  </a:moveTo>
                  <a:cubicBezTo>
                    <a:pt x="111" y="85"/>
                    <a:pt x="111" y="85"/>
                    <a:pt x="111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8" y="76"/>
                    <a:pt x="28" y="76"/>
                    <a:pt x="28" y="76"/>
                  </a:cubicBezTo>
                  <a:lnTo>
                    <a:pt x="111" y="76"/>
                  </a:lnTo>
                  <a:close/>
                  <a:moveTo>
                    <a:pt x="0" y="67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67"/>
                    <a:pt x="111" y="67"/>
                    <a:pt x="111" y="67"/>
                  </a:cubicBezTo>
                  <a:lnTo>
                    <a:pt x="0" y="67"/>
                  </a:lnTo>
                  <a:close/>
                  <a:moveTo>
                    <a:pt x="95" y="19"/>
                  </a:moveTo>
                  <a:cubicBezTo>
                    <a:pt x="99" y="19"/>
                    <a:pt x="101" y="18"/>
                    <a:pt x="101" y="15"/>
                  </a:cubicBezTo>
                  <a:cubicBezTo>
                    <a:pt x="101" y="11"/>
                    <a:pt x="99" y="10"/>
                    <a:pt x="95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08" y="10"/>
                    <a:pt x="108" y="10"/>
                    <a:pt x="108" y="10"/>
                  </a:cubicBezTo>
                  <a:cubicBezTo>
                    <a:pt x="110" y="11"/>
                    <a:pt x="111" y="14"/>
                    <a:pt x="111" y="18"/>
                  </a:cubicBezTo>
                  <a:cubicBezTo>
                    <a:pt x="111" y="26"/>
                    <a:pt x="104" y="29"/>
                    <a:pt x="91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95" y="19"/>
                    <a:pt x="95" y="19"/>
                    <a:pt x="95" y="1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auto">
            <a:xfrm>
              <a:off x="5818188" y="3755639"/>
              <a:ext cx="693738" cy="138113"/>
            </a:xfrm>
            <a:custGeom>
              <a:avLst/>
              <a:gdLst/>
              <a:ahLst/>
              <a:cxnLst>
                <a:cxn ang="0">
                  <a:pos x="10" y="22"/>
                </a:cxn>
                <a:cxn ang="0">
                  <a:pos x="14" y="55"/>
                </a:cxn>
                <a:cxn ang="0">
                  <a:pos x="0" y="45"/>
                </a:cxn>
                <a:cxn ang="0">
                  <a:pos x="10" y="0"/>
                </a:cxn>
                <a:cxn ang="0">
                  <a:pos x="26" y="19"/>
                </a:cxn>
                <a:cxn ang="0">
                  <a:pos x="19" y="0"/>
                </a:cxn>
                <a:cxn ang="0">
                  <a:pos x="33" y="24"/>
                </a:cxn>
                <a:cxn ang="0">
                  <a:pos x="48" y="37"/>
                </a:cxn>
                <a:cxn ang="0">
                  <a:pos x="42" y="47"/>
                </a:cxn>
                <a:cxn ang="0">
                  <a:pos x="38" y="42"/>
                </a:cxn>
                <a:cxn ang="0">
                  <a:pos x="48" y="22"/>
                </a:cxn>
                <a:cxn ang="0">
                  <a:pos x="39" y="30"/>
                </a:cxn>
                <a:cxn ang="0">
                  <a:pos x="52" y="55"/>
                </a:cxn>
                <a:cxn ang="0">
                  <a:pos x="38" y="45"/>
                </a:cxn>
                <a:cxn ang="0">
                  <a:pos x="62" y="22"/>
                </a:cxn>
                <a:cxn ang="0">
                  <a:pos x="62" y="14"/>
                </a:cxn>
                <a:cxn ang="0">
                  <a:pos x="71" y="55"/>
                </a:cxn>
                <a:cxn ang="0">
                  <a:pos x="80" y="55"/>
                </a:cxn>
                <a:cxn ang="0">
                  <a:pos x="82" y="41"/>
                </a:cxn>
                <a:cxn ang="0">
                  <a:pos x="85" y="55"/>
                </a:cxn>
                <a:cxn ang="0">
                  <a:pos x="102" y="37"/>
                </a:cxn>
                <a:cxn ang="0">
                  <a:pos x="98" y="47"/>
                </a:cxn>
                <a:cxn ang="0">
                  <a:pos x="92" y="42"/>
                </a:cxn>
                <a:cxn ang="0">
                  <a:pos x="102" y="22"/>
                </a:cxn>
                <a:cxn ang="0">
                  <a:pos x="93" y="30"/>
                </a:cxn>
                <a:cxn ang="0">
                  <a:pos x="107" y="55"/>
                </a:cxn>
                <a:cxn ang="0">
                  <a:pos x="92" y="45"/>
                </a:cxn>
                <a:cxn ang="0">
                  <a:pos x="126" y="14"/>
                </a:cxn>
                <a:cxn ang="0">
                  <a:pos x="114" y="14"/>
                </a:cxn>
                <a:cxn ang="0">
                  <a:pos x="138" y="37"/>
                </a:cxn>
                <a:cxn ang="0">
                  <a:pos x="133" y="47"/>
                </a:cxn>
                <a:cxn ang="0">
                  <a:pos x="128" y="42"/>
                </a:cxn>
                <a:cxn ang="0">
                  <a:pos x="138" y="22"/>
                </a:cxn>
                <a:cxn ang="0">
                  <a:pos x="128" y="30"/>
                </a:cxn>
                <a:cxn ang="0">
                  <a:pos x="142" y="55"/>
                </a:cxn>
                <a:cxn ang="0">
                  <a:pos x="128" y="45"/>
                </a:cxn>
                <a:cxn ang="0">
                  <a:pos x="157" y="47"/>
                </a:cxn>
                <a:cxn ang="0">
                  <a:pos x="152" y="47"/>
                </a:cxn>
                <a:cxn ang="0">
                  <a:pos x="153" y="55"/>
                </a:cxn>
                <a:cxn ang="0">
                  <a:pos x="157" y="15"/>
                </a:cxn>
                <a:cxn ang="0">
                  <a:pos x="176" y="37"/>
                </a:cxn>
                <a:cxn ang="0">
                  <a:pos x="171" y="47"/>
                </a:cxn>
                <a:cxn ang="0">
                  <a:pos x="166" y="42"/>
                </a:cxn>
                <a:cxn ang="0">
                  <a:pos x="176" y="22"/>
                </a:cxn>
                <a:cxn ang="0">
                  <a:pos x="167" y="30"/>
                </a:cxn>
                <a:cxn ang="0">
                  <a:pos x="180" y="55"/>
                </a:cxn>
                <a:cxn ang="0">
                  <a:pos x="166" y="45"/>
                </a:cxn>
                <a:cxn ang="0">
                  <a:pos x="194" y="47"/>
                </a:cxn>
                <a:cxn ang="0">
                  <a:pos x="190" y="46"/>
                </a:cxn>
                <a:cxn ang="0">
                  <a:pos x="190" y="54"/>
                </a:cxn>
                <a:cxn ang="0">
                  <a:pos x="194" y="15"/>
                </a:cxn>
                <a:cxn ang="0">
                  <a:pos x="192" y="65"/>
                </a:cxn>
                <a:cxn ang="0">
                  <a:pos x="213" y="37"/>
                </a:cxn>
                <a:cxn ang="0">
                  <a:pos x="208" y="47"/>
                </a:cxn>
                <a:cxn ang="0">
                  <a:pos x="204" y="42"/>
                </a:cxn>
                <a:cxn ang="0">
                  <a:pos x="213" y="22"/>
                </a:cxn>
                <a:cxn ang="0">
                  <a:pos x="204" y="30"/>
                </a:cxn>
                <a:cxn ang="0">
                  <a:pos x="218" y="55"/>
                </a:cxn>
                <a:cxn ang="0">
                  <a:pos x="204" y="45"/>
                </a:cxn>
                <a:cxn ang="0">
                  <a:pos x="227" y="55"/>
                </a:cxn>
                <a:cxn ang="0">
                  <a:pos x="238" y="50"/>
                </a:cxn>
                <a:cxn ang="0">
                  <a:pos x="245" y="55"/>
                </a:cxn>
                <a:cxn ang="0">
                  <a:pos x="231" y="45"/>
                </a:cxn>
              </a:cxnLst>
              <a:rect l="0" t="0" r="r" b="b"/>
              <a:pathLst>
                <a:path w="245" h="65">
                  <a:moveTo>
                    <a:pt x="5" y="47"/>
                  </a:moveTo>
                  <a:cubicBezTo>
                    <a:pt x="5" y="49"/>
                    <a:pt x="5" y="50"/>
                    <a:pt x="7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lnTo>
                    <a:pt x="5" y="47"/>
                  </a:lnTo>
                  <a:close/>
                  <a:moveTo>
                    <a:pt x="14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8" y="54"/>
                    <a:pt x="7" y="55"/>
                    <a:pt x="5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2" y="14"/>
                    <a:pt x="5" y="14"/>
                  </a:cubicBezTo>
                  <a:cubicBezTo>
                    <a:pt x="8" y="14"/>
                    <a:pt x="9" y="14"/>
                    <a:pt x="10" y="1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5"/>
                  </a:lnTo>
                  <a:close/>
                  <a:moveTo>
                    <a:pt x="28" y="22"/>
                  </a:moveTo>
                  <a:cubicBezTo>
                    <a:pt x="28" y="20"/>
                    <a:pt x="28" y="19"/>
                    <a:pt x="26" y="19"/>
                  </a:cubicBezTo>
                  <a:cubicBezTo>
                    <a:pt x="24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6" y="14"/>
                    <a:pt x="28" y="14"/>
                  </a:cubicBezTo>
                  <a:cubicBezTo>
                    <a:pt x="32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22"/>
                    <a:pt x="28" y="22"/>
                    <a:pt x="28" y="22"/>
                  </a:cubicBezTo>
                  <a:close/>
                  <a:moveTo>
                    <a:pt x="48" y="37"/>
                  </a:moveTo>
                  <a:cubicBezTo>
                    <a:pt x="47" y="37"/>
                    <a:pt x="46" y="37"/>
                    <a:pt x="46" y="37"/>
                  </a:cubicBezTo>
                  <a:cubicBezTo>
                    <a:pt x="45" y="38"/>
                    <a:pt x="45" y="38"/>
                    <a:pt x="44" y="38"/>
                  </a:cubicBezTo>
                  <a:cubicBezTo>
                    <a:pt x="43" y="40"/>
                    <a:pt x="42" y="41"/>
                    <a:pt x="42" y="43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9"/>
                    <a:pt x="44" y="50"/>
                    <a:pt x="45" y="50"/>
                  </a:cubicBezTo>
                  <a:cubicBezTo>
                    <a:pt x="46" y="50"/>
                    <a:pt x="48" y="49"/>
                    <a:pt x="48" y="47"/>
                  </a:cubicBezTo>
                  <a:cubicBezTo>
                    <a:pt x="48" y="37"/>
                    <a:pt x="48" y="37"/>
                    <a:pt x="48" y="37"/>
                  </a:cubicBezTo>
                  <a:close/>
                  <a:moveTo>
                    <a:pt x="38" y="42"/>
                  </a:moveTo>
                  <a:cubicBezTo>
                    <a:pt x="38" y="39"/>
                    <a:pt x="39" y="37"/>
                    <a:pt x="41" y="35"/>
                  </a:cubicBezTo>
                  <a:cubicBezTo>
                    <a:pt x="42" y="34"/>
                    <a:pt x="44" y="33"/>
                    <a:pt x="45" y="32"/>
                  </a:cubicBezTo>
                  <a:cubicBezTo>
                    <a:pt x="46" y="32"/>
                    <a:pt x="47" y="31"/>
                    <a:pt x="48" y="31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0"/>
                    <a:pt x="47" y="19"/>
                    <a:pt x="45" y="19"/>
                  </a:cubicBezTo>
                  <a:cubicBezTo>
                    <a:pt x="44" y="19"/>
                    <a:pt x="43" y="20"/>
                    <a:pt x="43" y="22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17"/>
                    <a:pt x="41" y="14"/>
                    <a:pt x="45" y="14"/>
                  </a:cubicBezTo>
                  <a:cubicBezTo>
                    <a:pt x="50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7" y="54"/>
                    <a:pt x="45" y="55"/>
                    <a:pt x="44" y="55"/>
                  </a:cubicBezTo>
                  <a:cubicBezTo>
                    <a:pt x="40" y="55"/>
                    <a:pt x="38" y="52"/>
                    <a:pt x="38" y="45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67" y="22"/>
                  </a:moveTo>
                  <a:cubicBezTo>
                    <a:pt x="67" y="20"/>
                    <a:pt x="66" y="19"/>
                    <a:pt x="64" y="19"/>
                  </a:cubicBezTo>
                  <a:cubicBezTo>
                    <a:pt x="62" y="19"/>
                    <a:pt x="62" y="20"/>
                    <a:pt x="62" y="22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4"/>
                    <a:pt x="63" y="14"/>
                    <a:pt x="65" y="14"/>
                  </a:cubicBezTo>
                  <a:cubicBezTo>
                    <a:pt x="69" y="14"/>
                    <a:pt x="71" y="17"/>
                    <a:pt x="71" y="24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22"/>
                    <a:pt x="67" y="22"/>
                    <a:pt x="67" y="22"/>
                  </a:cubicBezTo>
                  <a:close/>
                  <a:moveTo>
                    <a:pt x="74" y="60"/>
                  </a:moveTo>
                  <a:cubicBezTo>
                    <a:pt x="77" y="60"/>
                    <a:pt x="79" y="58"/>
                    <a:pt x="80" y="55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4" y="59"/>
                    <a:pt x="83" y="61"/>
                    <a:pt x="81" y="63"/>
                  </a:cubicBezTo>
                  <a:cubicBezTo>
                    <a:pt x="80" y="64"/>
                    <a:pt x="77" y="65"/>
                    <a:pt x="74" y="65"/>
                  </a:cubicBezTo>
                  <a:lnTo>
                    <a:pt x="74" y="60"/>
                  </a:lnTo>
                  <a:close/>
                  <a:moveTo>
                    <a:pt x="102" y="37"/>
                  </a:moveTo>
                  <a:cubicBezTo>
                    <a:pt x="101" y="37"/>
                    <a:pt x="101" y="37"/>
                    <a:pt x="100" y="37"/>
                  </a:cubicBezTo>
                  <a:cubicBezTo>
                    <a:pt x="100" y="38"/>
                    <a:pt x="99" y="38"/>
                    <a:pt x="99" y="38"/>
                  </a:cubicBezTo>
                  <a:cubicBezTo>
                    <a:pt x="98" y="40"/>
                    <a:pt x="98" y="41"/>
                    <a:pt x="98" y="43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9"/>
                    <a:pt x="98" y="50"/>
                    <a:pt x="100" y="50"/>
                  </a:cubicBezTo>
                  <a:cubicBezTo>
                    <a:pt x="101" y="50"/>
                    <a:pt x="102" y="49"/>
                    <a:pt x="102" y="4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92" y="42"/>
                  </a:moveTo>
                  <a:cubicBezTo>
                    <a:pt x="92" y="39"/>
                    <a:pt x="94" y="37"/>
                    <a:pt x="96" y="35"/>
                  </a:cubicBezTo>
                  <a:cubicBezTo>
                    <a:pt x="98" y="34"/>
                    <a:pt x="99" y="33"/>
                    <a:pt x="100" y="32"/>
                  </a:cubicBezTo>
                  <a:cubicBezTo>
                    <a:pt x="101" y="32"/>
                    <a:pt x="101" y="31"/>
                    <a:pt x="102" y="3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0"/>
                    <a:pt x="101" y="19"/>
                    <a:pt x="100" y="19"/>
                  </a:cubicBezTo>
                  <a:cubicBezTo>
                    <a:pt x="99" y="19"/>
                    <a:pt x="98" y="20"/>
                    <a:pt x="98" y="22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7"/>
                    <a:pt x="95" y="14"/>
                    <a:pt x="100" y="14"/>
                  </a:cubicBezTo>
                  <a:cubicBezTo>
                    <a:pt x="105" y="14"/>
                    <a:pt x="107" y="17"/>
                    <a:pt x="107" y="24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1" y="54"/>
                    <a:pt x="100" y="55"/>
                    <a:pt x="99" y="55"/>
                  </a:cubicBezTo>
                  <a:cubicBezTo>
                    <a:pt x="95" y="55"/>
                    <a:pt x="92" y="52"/>
                    <a:pt x="92" y="45"/>
                  </a:cubicBezTo>
                  <a:cubicBezTo>
                    <a:pt x="92" y="42"/>
                    <a:pt x="92" y="42"/>
                    <a:pt x="92" y="42"/>
                  </a:cubicBezTo>
                  <a:close/>
                  <a:moveTo>
                    <a:pt x="118" y="32"/>
                  </a:moveTo>
                  <a:cubicBezTo>
                    <a:pt x="121" y="14"/>
                    <a:pt x="121" y="14"/>
                    <a:pt x="121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8" y="41"/>
                    <a:pt x="118" y="41"/>
                    <a:pt x="118" y="41"/>
                  </a:cubicBezTo>
                  <a:lnTo>
                    <a:pt x="118" y="32"/>
                  </a:lnTo>
                  <a:close/>
                  <a:moveTo>
                    <a:pt x="138" y="37"/>
                  </a:moveTo>
                  <a:cubicBezTo>
                    <a:pt x="137" y="37"/>
                    <a:pt x="136" y="37"/>
                    <a:pt x="136" y="37"/>
                  </a:cubicBezTo>
                  <a:cubicBezTo>
                    <a:pt x="136" y="38"/>
                    <a:pt x="135" y="38"/>
                    <a:pt x="135" y="38"/>
                  </a:cubicBezTo>
                  <a:cubicBezTo>
                    <a:pt x="133" y="40"/>
                    <a:pt x="133" y="41"/>
                    <a:pt x="133" y="43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3" y="49"/>
                    <a:pt x="133" y="50"/>
                    <a:pt x="135" y="50"/>
                  </a:cubicBezTo>
                  <a:cubicBezTo>
                    <a:pt x="137" y="50"/>
                    <a:pt x="138" y="49"/>
                    <a:pt x="138" y="47"/>
                  </a:cubicBezTo>
                  <a:lnTo>
                    <a:pt x="138" y="37"/>
                  </a:lnTo>
                  <a:close/>
                  <a:moveTo>
                    <a:pt x="128" y="42"/>
                  </a:moveTo>
                  <a:cubicBezTo>
                    <a:pt x="128" y="39"/>
                    <a:pt x="130" y="37"/>
                    <a:pt x="132" y="35"/>
                  </a:cubicBezTo>
                  <a:cubicBezTo>
                    <a:pt x="133" y="34"/>
                    <a:pt x="134" y="33"/>
                    <a:pt x="135" y="32"/>
                  </a:cubicBezTo>
                  <a:cubicBezTo>
                    <a:pt x="136" y="32"/>
                    <a:pt x="137" y="31"/>
                    <a:pt x="138" y="31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38" y="20"/>
                    <a:pt x="137" y="19"/>
                    <a:pt x="136" y="19"/>
                  </a:cubicBezTo>
                  <a:cubicBezTo>
                    <a:pt x="134" y="19"/>
                    <a:pt x="133" y="20"/>
                    <a:pt x="133" y="22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24"/>
                    <a:pt x="128" y="24"/>
                    <a:pt x="128" y="24"/>
                  </a:cubicBezTo>
                  <a:cubicBezTo>
                    <a:pt x="128" y="17"/>
                    <a:pt x="131" y="14"/>
                    <a:pt x="136" y="14"/>
                  </a:cubicBezTo>
                  <a:cubicBezTo>
                    <a:pt x="140" y="14"/>
                    <a:pt x="142" y="17"/>
                    <a:pt x="142" y="24"/>
                  </a:cubicBezTo>
                  <a:cubicBezTo>
                    <a:pt x="142" y="55"/>
                    <a:pt x="142" y="55"/>
                    <a:pt x="142" y="55"/>
                  </a:cubicBezTo>
                  <a:cubicBezTo>
                    <a:pt x="138" y="55"/>
                    <a:pt x="138" y="55"/>
                    <a:pt x="138" y="55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37" y="54"/>
                    <a:pt x="136" y="55"/>
                    <a:pt x="134" y="55"/>
                  </a:cubicBezTo>
                  <a:cubicBezTo>
                    <a:pt x="130" y="55"/>
                    <a:pt x="128" y="52"/>
                    <a:pt x="128" y="45"/>
                  </a:cubicBezTo>
                  <a:cubicBezTo>
                    <a:pt x="128" y="42"/>
                    <a:pt x="128" y="42"/>
                    <a:pt x="128" y="42"/>
                  </a:cubicBezTo>
                  <a:close/>
                  <a:moveTo>
                    <a:pt x="152" y="47"/>
                  </a:moveTo>
                  <a:cubicBezTo>
                    <a:pt x="152" y="49"/>
                    <a:pt x="153" y="50"/>
                    <a:pt x="154" y="50"/>
                  </a:cubicBezTo>
                  <a:cubicBezTo>
                    <a:pt x="156" y="50"/>
                    <a:pt x="157" y="49"/>
                    <a:pt x="157" y="47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7" y="20"/>
                    <a:pt x="156" y="19"/>
                    <a:pt x="154" y="19"/>
                  </a:cubicBezTo>
                  <a:cubicBezTo>
                    <a:pt x="153" y="19"/>
                    <a:pt x="152" y="20"/>
                    <a:pt x="152" y="22"/>
                  </a:cubicBezTo>
                  <a:lnTo>
                    <a:pt x="152" y="47"/>
                  </a:lnTo>
                  <a:close/>
                  <a:moveTo>
                    <a:pt x="162" y="55"/>
                  </a:moveTo>
                  <a:cubicBezTo>
                    <a:pt x="157" y="55"/>
                    <a:pt x="157" y="55"/>
                    <a:pt x="157" y="55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5" y="54"/>
                    <a:pt x="154" y="55"/>
                    <a:pt x="153" y="55"/>
                  </a:cubicBezTo>
                  <a:cubicBezTo>
                    <a:pt x="149" y="55"/>
                    <a:pt x="147" y="52"/>
                    <a:pt x="147" y="45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17"/>
                    <a:pt x="149" y="14"/>
                    <a:pt x="153" y="14"/>
                  </a:cubicBezTo>
                  <a:cubicBezTo>
                    <a:pt x="155" y="14"/>
                    <a:pt x="156" y="14"/>
                    <a:pt x="157" y="15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0"/>
                    <a:pt x="162" y="0"/>
                    <a:pt x="162" y="0"/>
                  </a:cubicBezTo>
                  <a:lnTo>
                    <a:pt x="162" y="55"/>
                  </a:lnTo>
                  <a:close/>
                  <a:moveTo>
                    <a:pt x="176" y="37"/>
                  </a:moveTo>
                  <a:cubicBezTo>
                    <a:pt x="175" y="37"/>
                    <a:pt x="175" y="37"/>
                    <a:pt x="174" y="37"/>
                  </a:cubicBezTo>
                  <a:cubicBezTo>
                    <a:pt x="173" y="38"/>
                    <a:pt x="173" y="38"/>
                    <a:pt x="172" y="38"/>
                  </a:cubicBezTo>
                  <a:cubicBezTo>
                    <a:pt x="171" y="40"/>
                    <a:pt x="171" y="41"/>
                    <a:pt x="171" y="43"/>
                  </a:cubicBezTo>
                  <a:cubicBezTo>
                    <a:pt x="171" y="47"/>
                    <a:pt x="171" y="47"/>
                    <a:pt x="171" y="47"/>
                  </a:cubicBezTo>
                  <a:cubicBezTo>
                    <a:pt x="171" y="49"/>
                    <a:pt x="172" y="50"/>
                    <a:pt x="173" y="50"/>
                  </a:cubicBezTo>
                  <a:cubicBezTo>
                    <a:pt x="175" y="50"/>
                    <a:pt x="176" y="49"/>
                    <a:pt x="176" y="47"/>
                  </a:cubicBezTo>
                  <a:lnTo>
                    <a:pt x="176" y="37"/>
                  </a:lnTo>
                  <a:close/>
                  <a:moveTo>
                    <a:pt x="166" y="42"/>
                  </a:moveTo>
                  <a:cubicBezTo>
                    <a:pt x="166" y="39"/>
                    <a:pt x="167" y="37"/>
                    <a:pt x="169" y="35"/>
                  </a:cubicBezTo>
                  <a:cubicBezTo>
                    <a:pt x="171" y="34"/>
                    <a:pt x="172" y="33"/>
                    <a:pt x="173" y="32"/>
                  </a:cubicBezTo>
                  <a:cubicBezTo>
                    <a:pt x="174" y="32"/>
                    <a:pt x="175" y="31"/>
                    <a:pt x="176" y="31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6" y="20"/>
                    <a:pt x="175" y="19"/>
                    <a:pt x="173" y="19"/>
                  </a:cubicBezTo>
                  <a:cubicBezTo>
                    <a:pt x="172" y="19"/>
                    <a:pt x="171" y="20"/>
                    <a:pt x="171" y="22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67" y="30"/>
                    <a:pt x="167" y="30"/>
                    <a:pt x="167" y="30"/>
                  </a:cubicBezTo>
                  <a:cubicBezTo>
                    <a:pt x="167" y="24"/>
                    <a:pt x="167" y="24"/>
                    <a:pt x="167" y="24"/>
                  </a:cubicBezTo>
                  <a:cubicBezTo>
                    <a:pt x="167" y="17"/>
                    <a:pt x="169" y="14"/>
                    <a:pt x="173" y="14"/>
                  </a:cubicBezTo>
                  <a:cubicBezTo>
                    <a:pt x="178" y="14"/>
                    <a:pt x="180" y="17"/>
                    <a:pt x="180" y="24"/>
                  </a:cubicBezTo>
                  <a:cubicBezTo>
                    <a:pt x="180" y="55"/>
                    <a:pt x="180" y="55"/>
                    <a:pt x="180" y="55"/>
                  </a:cubicBezTo>
                  <a:cubicBezTo>
                    <a:pt x="176" y="55"/>
                    <a:pt x="176" y="55"/>
                    <a:pt x="176" y="55"/>
                  </a:cubicBezTo>
                  <a:cubicBezTo>
                    <a:pt x="176" y="53"/>
                    <a:pt x="176" y="53"/>
                    <a:pt x="176" y="53"/>
                  </a:cubicBezTo>
                  <a:cubicBezTo>
                    <a:pt x="175" y="54"/>
                    <a:pt x="173" y="55"/>
                    <a:pt x="172" y="55"/>
                  </a:cubicBezTo>
                  <a:cubicBezTo>
                    <a:pt x="168" y="55"/>
                    <a:pt x="166" y="52"/>
                    <a:pt x="166" y="45"/>
                  </a:cubicBezTo>
                  <a:cubicBezTo>
                    <a:pt x="166" y="42"/>
                    <a:pt x="166" y="42"/>
                    <a:pt x="166" y="42"/>
                  </a:cubicBezTo>
                  <a:close/>
                  <a:moveTo>
                    <a:pt x="190" y="46"/>
                  </a:moveTo>
                  <a:cubicBezTo>
                    <a:pt x="190" y="48"/>
                    <a:pt x="190" y="49"/>
                    <a:pt x="192" y="49"/>
                  </a:cubicBezTo>
                  <a:cubicBezTo>
                    <a:pt x="194" y="49"/>
                    <a:pt x="194" y="49"/>
                    <a:pt x="194" y="47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0"/>
                    <a:pt x="194" y="19"/>
                    <a:pt x="192" y="19"/>
                  </a:cubicBezTo>
                  <a:cubicBezTo>
                    <a:pt x="190" y="19"/>
                    <a:pt x="190" y="20"/>
                    <a:pt x="190" y="22"/>
                  </a:cubicBezTo>
                  <a:lnTo>
                    <a:pt x="190" y="46"/>
                  </a:lnTo>
                  <a:close/>
                  <a:moveTo>
                    <a:pt x="192" y="60"/>
                  </a:moveTo>
                  <a:cubicBezTo>
                    <a:pt x="194" y="60"/>
                    <a:pt x="194" y="59"/>
                    <a:pt x="194" y="57"/>
                  </a:cubicBezTo>
                  <a:cubicBezTo>
                    <a:pt x="194" y="53"/>
                    <a:pt x="194" y="53"/>
                    <a:pt x="194" y="53"/>
                  </a:cubicBezTo>
                  <a:cubicBezTo>
                    <a:pt x="194" y="54"/>
                    <a:pt x="192" y="54"/>
                    <a:pt x="190" y="54"/>
                  </a:cubicBezTo>
                  <a:cubicBezTo>
                    <a:pt x="187" y="54"/>
                    <a:pt x="185" y="51"/>
                    <a:pt x="185" y="44"/>
                  </a:cubicBezTo>
                  <a:cubicBezTo>
                    <a:pt x="185" y="24"/>
                    <a:pt x="185" y="24"/>
                    <a:pt x="185" y="24"/>
                  </a:cubicBezTo>
                  <a:cubicBezTo>
                    <a:pt x="185" y="17"/>
                    <a:pt x="187" y="14"/>
                    <a:pt x="190" y="14"/>
                  </a:cubicBezTo>
                  <a:cubicBezTo>
                    <a:pt x="192" y="14"/>
                    <a:pt x="193" y="14"/>
                    <a:pt x="194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9" y="14"/>
                    <a:pt x="199" y="14"/>
                    <a:pt x="199" y="14"/>
                  </a:cubicBezTo>
                  <a:cubicBezTo>
                    <a:pt x="199" y="55"/>
                    <a:pt x="199" y="55"/>
                    <a:pt x="199" y="55"/>
                  </a:cubicBezTo>
                  <a:cubicBezTo>
                    <a:pt x="199" y="62"/>
                    <a:pt x="197" y="65"/>
                    <a:pt x="192" y="65"/>
                  </a:cubicBezTo>
                  <a:cubicBezTo>
                    <a:pt x="187" y="65"/>
                    <a:pt x="185" y="63"/>
                    <a:pt x="185" y="58"/>
                  </a:cubicBezTo>
                  <a:cubicBezTo>
                    <a:pt x="190" y="58"/>
                    <a:pt x="190" y="58"/>
                    <a:pt x="190" y="58"/>
                  </a:cubicBezTo>
                  <a:cubicBezTo>
                    <a:pt x="190" y="59"/>
                    <a:pt x="190" y="60"/>
                    <a:pt x="192" y="60"/>
                  </a:cubicBezTo>
                  <a:close/>
                  <a:moveTo>
                    <a:pt x="213" y="37"/>
                  </a:moveTo>
                  <a:cubicBezTo>
                    <a:pt x="213" y="37"/>
                    <a:pt x="212" y="37"/>
                    <a:pt x="212" y="37"/>
                  </a:cubicBezTo>
                  <a:cubicBezTo>
                    <a:pt x="211" y="38"/>
                    <a:pt x="210" y="38"/>
                    <a:pt x="210" y="38"/>
                  </a:cubicBezTo>
                  <a:cubicBezTo>
                    <a:pt x="209" y="40"/>
                    <a:pt x="208" y="41"/>
                    <a:pt x="208" y="43"/>
                  </a:cubicBezTo>
                  <a:cubicBezTo>
                    <a:pt x="208" y="47"/>
                    <a:pt x="208" y="47"/>
                    <a:pt x="208" y="47"/>
                  </a:cubicBezTo>
                  <a:cubicBezTo>
                    <a:pt x="208" y="49"/>
                    <a:pt x="209" y="50"/>
                    <a:pt x="210" y="50"/>
                  </a:cubicBezTo>
                  <a:cubicBezTo>
                    <a:pt x="212" y="50"/>
                    <a:pt x="213" y="49"/>
                    <a:pt x="213" y="47"/>
                  </a:cubicBezTo>
                  <a:lnTo>
                    <a:pt x="213" y="37"/>
                  </a:lnTo>
                  <a:close/>
                  <a:moveTo>
                    <a:pt x="204" y="42"/>
                  </a:moveTo>
                  <a:cubicBezTo>
                    <a:pt x="204" y="39"/>
                    <a:pt x="205" y="37"/>
                    <a:pt x="208" y="35"/>
                  </a:cubicBezTo>
                  <a:cubicBezTo>
                    <a:pt x="209" y="34"/>
                    <a:pt x="210" y="33"/>
                    <a:pt x="210" y="32"/>
                  </a:cubicBezTo>
                  <a:cubicBezTo>
                    <a:pt x="212" y="32"/>
                    <a:pt x="213" y="31"/>
                    <a:pt x="213" y="31"/>
                  </a:cubicBezTo>
                  <a:cubicBezTo>
                    <a:pt x="213" y="22"/>
                    <a:pt x="213" y="22"/>
                    <a:pt x="213" y="22"/>
                  </a:cubicBezTo>
                  <a:cubicBezTo>
                    <a:pt x="213" y="20"/>
                    <a:pt x="213" y="19"/>
                    <a:pt x="211" y="19"/>
                  </a:cubicBezTo>
                  <a:cubicBezTo>
                    <a:pt x="210" y="19"/>
                    <a:pt x="209" y="20"/>
                    <a:pt x="209" y="22"/>
                  </a:cubicBezTo>
                  <a:cubicBezTo>
                    <a:pt x="209" y="30"/>
                    <a:pt x="209" y="30"/>
                    <a:pt x="209" y="30"/>
                  </a:cubicBezTo>
                  <a:cubicBezTo>
                    <a:pt x="204" y="30"/>
                    <a:pt x="204" y="30"/>
                    <a:pt x="204" y="30"/>
                  </a:cubicBezTo>
                  <a:cubicBezTo>
                    <a:pt x="204" y="24"/>
                    <a:pt x="204" y="24"/>
                    <a:pt x="204" y="24"/>
                  </a:cubicBezTo>
                  <a:cubicBezTo>
                    <a:pt x="204" y="17"/>
                    <a:pt x="207" y="14"/>
                    <a:pt x="211" y="14"/>
                  </a:cubicBezTo>
                  <a:cubicBezTo>
                    <a:pt x="216" y="14"/>
                    <a:pt x="218" y="17"/>
                    <a:pt x="218" y="24"/>
                  </a:cubicBezTo>
                  <a:cubicBezTo>
                    <a:pt x="218" y="55"/>
                    <a:pt x="218" y="55"/>
                    <a:pt x="218" y="55"/>
                  </a:cubicBezTo>
                  <a:cubicBezTo>
                    <a:pt x="213" y="55"/>
                    <a:pt x="213" y="55"/>
                    <a:pt x="213" y="55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4"/>
                    <a:pt x="211" y="55"/>
                    <a:pt x="209" y="55"/>
                  </a:cubicBezTo>
                  <a:cubicBezTo>
                    <a:pt x="205" y="55"/>
                    <a:pt x="204" y="52"/>
                    <a:pt x="204" y="45"/>
                  </a:cubicBezTo>
                  <a:cubicBezTo>
                    <a:pt x="204" y="42"/>
                    <a:pt x="204" y="42"/>
                    <a:pt x="204" y="42"/>
                  </a:cubicBezTo>
                  <a:close/>
                  <a:moveTo>
                    <a:pt x="222" y="0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227" y="55"/>
                    <a:pt x="227" y="55"/>
                    <a:pt x="227" y="55"/>
                  </a:cubicBezTo>
                  <a:cubicBezTo>
                    <a:pt x="222" y="55"/>
                    <a:pt x="222" y="55"/>
                    <a:pt x="222" y="55"/>
                  </a:cubicBezTo>
                  <a:lnTo>
                    <a:pt x="222" y="0"/>
                  </a:lnTo>
                  <a:close/>
                  <a:moveTo>
                    <a:pt x="235" y="47"/>
                  </a:moveTo>
                  <a:cubicBezTo>
                    <a:pt x="235" y="49"/>
                    <a:pt x="236" y="50"/>
                    <a:pt x="238" y="50"/>
                  </a:cubicBezTo>
                  <a:cubicBezTo>
                    <a:pt x="240" y="50"/>
                    <a:pt x="240" y="49"/>
                    <a:pt x="240" y="47"/>
                  </a:cubicBezTo>
                  <a:cubicBezTo>
                    <a:pt x="240" y="14"/>
                    <a:pt x="240" y="14"/>
                    <a:pt x="240" y="14"/>
                  </a:cubicBezTo>
                  <a:cubicBezTo>
                    <a:pt x="245" y="14"/>
                    <a:pt x="245" y="14"/>
                    <a:pt x="245" y="14"/>
                  </a:cubicBezTo>
                  <a:cubicBezTo>
                    <a:pt x="245" y="55"/>
                    <a:pt x="245" y="55"/>
                    <a:pt x="245" y="55"/>
                  </a:cubicBezTo>
                  <a:cubicBezTo>
                    <a:pt x="240" y="55"/>
                    <a:pt x="240" y="55"/>
                    <a:pt x="240" y="55"/>
                  </a:cubicBezTo>
                  <a:cubicBezTo>
                    <a:pt x="240" y="54"/>
                    <a:pt x="240" y="54"/>
                    <a:pt x="240" y="54"/>
                  </a:cubicBezTo>
                  <a:cubicBezTo>
                    <a:pt x="240" y="55"/>
                    <a:pt x="239" y="55"/>
                    <a:pt x="236" y="55"/>
                  </a:cubicBezTo>
                  <a:cubicBezTo>
                    <a:pt x="232" y="55"/>
                    <a:pt x="231" y="52"/>
                    <a:pt x="231" y="45"/>
                  </a:cubicBezTo>
                  <a:cubicBezTo>
                    <a:pt x="231" y="14"/>
                    <a:pt x="231" y="14"/>
                    <a:pt x="231" y="14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5" y="47"/>
                    <a:pt x="235" y="47"/>
                    <a:pt x="235" y="47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2659064" y="3823506"/>
              <a:ext cx="569913" cy="89297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2" y="42"/>
                </a:cxn>
                <a:cxn ang="0">
                  <a:pos x="4" y="42"/>
                </a:cxn>
                <a:cxn ang="0">
                  <a:pos x="20" y="28"/>
                </a:cxn>
                <a:cxn ang="0">
                  <a:pos x="20" y="38"/>
                </a:cxn>
                <a:cxn ang="0">
                  <a:pos x="17" y="26"/>
                </a:cxn>
                <a:cxn ang="0">
                  <a:pos x="20" y="14"/>
                </a:cxn>
                <a:cxn ang="0">
                  <a:pos x="14" y="18"/>
                </a:cxn>
                <a:cxn ang="0">
                  <a:pos x="21" y="42"/>
                </a:cxn>
                <a:cxn ang="0">
                  <a:pos x="14" y="32"/>
                </a:cxn>
                <a:cxn ang="0">
                  <a:pos x="39" y="42"/>
                </a:cxn>
                <a:cxn ang="0">
                  <a:pos x="32" y="16"/>
                </a:cxn>
                <a:cxn ang="0">
                  <a:pos x="32" y="10"/>
                </a:cxn>
                <a:cxn ang="0">
                  <a:pos x="42" y="10"/>
                </a:cxn>
                <a:cxn ang="0">
                  <a:pos x="43" y="16"/>
                </a:cxn>
                <a:cxn ang="0">
                  <a:pos x="59" y="19"/>
                </a:cxn>
                <a:cxn ang="0">
                  <a:pos x="56" y="33"/>
                </a:cxn>
                <a:cxn ang="0">
                  <a:pos x="61" y="38"/>
                </a:cxn>
                <a:cxn ang="0">
                  <a:pos x="56" y="18"/>
                </a:cxn>
                <a:cxn ang="0">
                  <a:pos x="62" y="21"/>
                </a:cxn>
                <a:cxn ang="0">
                  <a:pos x="74" y="29"/>
                </a:cxn>
                <a:cxn ang="0">
                  <a:pos x="76" y="36"/>
                </a:cxn>
                <a:cxn ang="0">
                  <a:pos x="74" y="24"/>
                </a:cxn>
                <a:cxn ang="0">
                  <a:pos x="73" y="16"/>
                </a:cxn>
                <a:cxn ang="0">
                  <a:pos x="75" y="10"/>
                </a:cxn>
                <a:cxn ang="0">
                  <a:pos x="76" y="40"/>
                </a:cxn>
                <a:cxn ang="0">
                  <a:pos x="91" y="16"/>
                </a:cxn>
                <a:cxn ang="0">
                  <a:pos x="83" y="42"/>
                </a:cxn>
                <a:cxn ang="0">
                  <a:pos x="90" y="10"/>
                </a:cxn>
                <a:cxn ang="0">
                  <a:pos x="91" y="16"/>
                </a:cxn>
                <a:cxn ang="0">
                  <a:pos x="108" y="42"/>
                </a:cxn>
                <a:cxn ang="0">
                  <a:pos x="108" y="11"/>
                </a:cxn>
                <a:cxn ang="0">
                  <a:pos x="111" y="42"/>
                </a:cxn>
                <a:cxn ang="0">
                  <a:pos x="123" y="29"/>
                </a:cxn>
                <a:cxn ang="0">
                  <a:pos x="126" y="36"/>
                </a:cxn>
                <a:cxn ang="0">
                  <a:pos x="124" y="24"/>
                </a:cxn>
                <a:cxn ang="0">
                  <a:pos x="122" y="16"/>
                </a:cxn>
                <a:cxn ang="0">
                  <a:pos x="124" y="10"/>
                </a:cxn>
                <a:cxn ang="0">
                  <a:pos x="126" y="40"/>
                </a:cxn>
                <a:cxn ang="0">
                  <a:pos x="147" y="16"/>
                </a:cxn>
                <a:cxn ang="0">
                  <a:pos x="140" y="42"/>
                </a:cxn>
                <a:cxn ang="0">
                  <a:pos x="136" y="42"/>
                </a:cxn>
                <a:cxn ang="0">
                  <a:pos x="136" y="11"/>
                </a:cxn>
                <a:cxn ang="0">
                  <a:pos x="151" y="18"/>
                </a:cxn>
                <a:cxn ang="0">
                  <a:pos x="161" y="16"/>
                </a:cxn>
                <a:cxn ang="0">
                  <a:pos x="154" y="42"/>
                </a:cxn>
                <a:cxn ang="0">
                  <a:pos x="161" y="10"/>
                </a:cxn>
                <a:cxn ang="0">
                  <a:pos x="161" y="16"/>
                </a:cxn>
                <a:cxn ang="0">
                  <a:pos x="172" y="0"/>
                </a:cxn>
                <a:cxn ang="0">
                  <a:pos x="169" y="10"/>
                </a:cxn>
                <a:cxn ang="0">
                  <a:pos x="181" y="38"/>
                </a:cxn>
                <a:cxn ang="0">
                  <a:pos x="179" y="16"/>
                </a:cxn>
                <a:cxn ang="0">
                  <a:pos x="183" y="40"/>
                </a:cxn>
                <a:cxn ang="0">
                  <a:pos x="180" y="10"/>
                </a:cxn>
                <a:cxn ang="0">
                  <a:pos x="187" y="42"/>
                </a:cxn>
                <a:cxn ang="0">
                  <a:pos x="193" y="32"/>
                </a:cxn>
                <a:cxn ang="0">
                  <a:pos x="197" y="28"/>
                </a:cxn>
                <a:cxn ang="0">
                  <a:pos x="197" y="23"/>
                </a:cxn>
                <a:cxn ang="0">
                  <a:pos x="194" y="22"/>
                </a:cxn>
                <a:cxn ang="0">
                  <a:pos x="201" y="18"/>
                </a:cxn>
                <a:cxn ang="0">
                  <a:pos x="194" y="42"/>
                </a:cxn>
              </a:cxnLst>
              <a:rect l="0" t="0" r="r" b="b"/>
              <a:pathLst>
                <a:path w="201" h="42">
                  <a:moveTo>
                    <a:pt x="0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21" y="28"/>
                  </a:moveTo>
                  <a:cubicBezTo>
                    <a:pt x="21" y="28"/>
                    <a:pt x="20" y="28"/>
                    <a:pt x="20" y="28"/>
                  </a:cubicBezTo>
                  <a:cubicBezTo>
                    <a:pt x="20" y="28"/>
                    <a:pt x="19" y="29"/>
                    <a:pt x="19" y="29"/>
                  </a:cubicBezTo>
                  <a:cubicBezTo>
                    <a:pt x="18" y="30"/>
                    <a:pt x="18" y="31"/>
                    <a:pt x="18" y="3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7"/>
                    <a:pt x="18" y="38"/>
                    <a:pt x="20" y="38"/>
                  </a:cubicBezTo>
                  <a:cubicBezTo>
                    <a:pt x="21" y="38"/>
                    <a:pt x="21" y="37"/>
                    <a:pt x="21" y="36"/>
                  </a:cubicBezTo>
                  <a:lnTo>
                    <a:pt x="21" y="28"/>
                  </a:lnTo>
                  <a:close/>
                  <a:moveTo>
                    <a:pt x="14" y="32"/>
                  </a:moveTo>
                  <a:cubicBezTo>
                    <a:pt x="14" y="29"/>
                    <a:pt x="15" y="28"/>
                    <a:pt x="17" y="26"/>
                  </a:cubicBezTo>
                  <a:cubicBezTo>
                    <a:pt x="18" y="25"/>
                    <a:pt x="19" y="25"/>
                    <a:pt x="20" y="24"/>
                  </a:cubicBezTo>
                  <a:cubicBezTo>
                    <a:pt x="20" y="24"/>
                    <a:pt x="21" y="23"/>
                    <a:pt x="21" y="23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5"/>
                    <a:pt x="21" y="14"/>
                    <a:pt x="20" y="14"/>
                  </a:cubicBezTo>
                  <a:cubicBezTo>
                    <a:pt x="19" y="14"/>
                    <a:pt x="18" y="15"/>
                    <a:pt x="18" y="16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3"/>
                    <a:pt x="16" y="10"/>
                    <a:pt x="20" y="10"/>
                  </a:cubicBezTo>
                  <a:cubicBezTo>
                    <a:pt x="23" y="10"/>
                    <a:pt x="25" y="13"/>
                    <a:pt x="25" y="18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21" y="41"/>
                    <a:pt x="20" y="42"/>
                    <a:pt x="18" y="42"/>
                  </a:cubicBezTo>
                  <a:cubicBezTo>
                    <a:pt x="15" y="42"/>
                    <a:pt x="14" y="39"/>
                    <a:pt x="14" y="34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43" y="16"/>
                  </a:moveTo>
                  <a:cubicBezTo>
                    <a:pt x="43" y="15"/>
                    <a:pt x="42" y="14"/>
                    <a:pt x="41" y="14"/>
                  </a:cubicBezTo>
                  <a:cubicBezTo>
                    <a:pt x="40" y="14"/>
                    <a:pt x="39" y="15"/>
                    <a:pt x="39" y="16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5"/>
                    <a:pt x="35" y="14"/>
                    <a:pt x="34" y="14"/>
                  </a:cubicBezTo>
                  <a:cubicBezTo>
                    <a:pt x="33" y="14"/>
                    <a:pt x="32" y="15"/>
                    <a:pt x="32" y="16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4" y="10"/>
                    <a:pt x="35" y="10"/>
                  </a:cubicBezTo>
                  <a:cubicBezTo>
                    <a:pt x="37" y="10"/>
                    <a:pt x="37" y="11"/>
                    <a:pt x="38" y="12"/>
                  </a:cubicBezTo>
                  <a:cubicBezTo>
                    <a:pt x="39" y="11"/>
                    <a:pt x="40" y="10"/>
                    <a:pt x="42" y="10"/>
                  </a:cubicBezTo>
                  <a:cubicBezTo>
                    <a:pt x="45" y="10"/>
                    <a:pt x="46" y="13"/>
                    <a:pt x="46" y="18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16"/>
                    <a:pt x="43" y="16"/>
                    <a:pt x="43" y="16"/>
                  </a:cubicBezTo>
                  <a:close/>
                  <a:moveTo>
                    <a:pt x="62" y="16"/>
                  </a:moveTo>
                  <a:cubicBezTo>
                    <a:pt x="62" y="15"/>
                    <a:pt x="62" y="14"/>
                    <a:pt x="61" y="14"/>
                  </a:cubicBezTo>
                  <a:cubicBezTo>
                    <a:pt x="60" y="14"/>
                    <a:pt x="59" y="14"/>
                    <a:pt x="59" y="16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21"/>
                    <a:pt x="61" y="23"/>
                    <a:pt x="63" y="25"/>
                  </a:cubicBezTo>
                  <a:cubicBezTo>
                    <a:pt x="65" y="28"/>
                    <a:pt x="66" y="31"/>
                    <a:pt x="66" y="33"/>
                  </a:cubicBezTo>
                  <a:cubicBezTo>
                    <a:pt x="66" y="39"/>
                    <a:pt x="65" y="42"/>
                    <a:pt x="61" y="42"/>
                  </a:cubicBezTo>
                  <a:cubicBezTo>
                    <a:pt x="58" y="42"/>
                    <a:pt x="56" y="39"/>
                    <a:pt x="56" y="33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7"/>
                    <a:pt x="60" y="38"/>
                    <a:pt x="61" y="38"/>
                  </a:cubicBezTo>
                  <a:cubicBezTo>
                    <a:pt x="62" y="38"/>
                    <a:pt x="63" y="37"/>
                    <a:pt x="63" y="36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1"/>
                    <a:pt x="62" y="29"/>
                    <a:pt x="59" y="27"/>
                  </a:cubicBezTo>
                  <a:cubicBezTo>
                    <a:pt x="57" y="24"/>
                    <a:pt x="56" y="22"/>
                    <a:pt x="56" y="18"/>
                  </a:cubicBezTo>
                  <a:cubicBezTo>
                    <a:pt x="56" y="13"/>
                    <a:pt x="58" y="10"/>
                    <a:pt x="61" y="10"/>
                  </a:cubicBezTo>
                  <a:cubicBezTo>
                    <a:pt x="65" y="10"/>
                    <a:pt x="66" y="13"/>
                    <a:pt x="66" y="18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2" y="16"/>
                    <a:pt x="62" y="16"/>
                    <a:pt x="62" y="16"/>
                  </a:cubicBezTo>
                  <a:close/>
                  <a:moveTo>
                    <a:pt x="76" y="28"/>
                  </a:moveTo>
                  <a:cubicBezTo>
                    <a:pt x="76" y="28"/>
                    <a:pt x="76" y="28"/>
                    <a:pt x="75" y="28"/>
                  </a:cubicBezTo>
                  <a:cubicBezTo>
                    <a:pt x="75" y="28"/>
                    <a:pt x="74" y="29"/>
                    <a:pt x="74" y="29"/>
                  </a:cubicBezTo>
                  <a:cubicBezTo>
                    <a:pt x="73" y="30"/>
                    <a:pt x="73" y="31"/>
                    <a:pt x="73" y="32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7"/>
                    <a:pt x="74" y="38"/>
                    <a:pt x="74" y="38"/>
                  </a:cubicBezTo>
                  <a:cubicBezTo>
                    <a:pt x="76" y="38"/>
                    <a:pt x="76" y="37"/>
                    <a:pt x="76" y="36"/>
                  </a:cubicBezTo>
                  <a:cubicBezTo>
                    <a:pt x="76" y="28"/>
                    <a:pt x="76" y="28"/>
                    <a:pt x="76" y="28"/>
                  </a:cubicBezTo>
                  <a:close/>
                  <a:moveTo>
                    <a:pt x="69" y="32"/>
                  </a:moveTo>
                  <a:cubicBezTo>
                    <a:pt x="69" y="29"/>
                    <a:pt x="70" y="28"/>
                    <a:pt x="72" y="26"/>
                  </a:cubicBezTo>
                  <a:cubicBezTo>
                    <a:pt x="73" y="25"/>
                    <a:pt x="74" y="25"/>
                    <a:pt x="74" y="24"/>
                  </a:cubicBezTo>
                  <a:cubicBezTo>
                    <a:pt x="75" y="24"/>
                    <a:pt x="76" y="23"/>
                    <a:pt x="76" y="23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5"/>
                    <a:pt x="76" y="14"/>
                    <a:pt x="75" y="14"/>
                  </a:cubicBezTo>
                  <a:cubicBezTo>
                    <a:pt x="74" y="14"/>
                    <a:pt x="73" y="15"/>
                    <a:pt x="73" y="16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3"/>
                    <a:pt x="71" y="10"/>
                    <a:pt x="75" y="10"/>
                  </a:cubicBezTo>
                  <a:cubicBezTo>
                    <a:pt x="78" y="10"/>
                    <a:pt x="80" y="13"/>
                    <a:pt x="80" y="18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1"/>
                    <a:pt x="75" y="42"/>
                    <a:pt x="74" y="42"/>
                  </a:cubicBezTo>
                  <a:cubicBezTo>
                    <a:pt x="71" y="42"/>
                    <a:pt x="69" y="39"/>
                    <a:pt x="69" y="34"/>
                  </a:cubicBezTo>
                  <a:lnTo>
                    <a:pt x="69" y="32"/>
                  </a:lnTo>
                  <a:close/>
                  <a:moveTo>
                    <a:pt x="91" y="16"/>
                  </a:moveTo>
                  <a:cubicBezTo>
                    <a:pt x="91" y="15"/>
                    <a:pt x="90" y="14"/>
                    <a:pt x="89" y="14"/>
                  </a:cubicBezTo>
                  <a:cubicBezTo>
                    <a:pt x="88" y="14"/>
                    <a:pt x="87" y="15"/>
                    <a:pt x="87" y="16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8" y="11"/>
                    <a:pt x="88" y="10"/>
                    <a:pt x="90" y="10"/>
                  </a:cubicBezTo>
                  <a:cubicBezTo>
                    <a:pt x="93" y="10"/>
                    <a:pt x="94" y="13"/>
                    <a:pt x="94" y="18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1" y="42"/>
                    <a:pt x="91" y="42"/>
                    <a:pt x="91" y="42"/>
                  </a:cubicBezTo>
                  <a:cubicBezTo>
                    <a:pt x="91" y="16"/>
                    <a:pt x="91" y="16"/>
                    <a:pt x="91" y="16"/>
                  </a:cubicBezTo>
                  <a:close/>
                  <a:moveTo>
                    <a:pt x="111" y="16"/>
                  </a:moveTo>
                  <a:cubicBezTo>
                    <a:pt x="111" y="15"/>
                    <a:pt x="111" y="14"/>
                    <a:pt x="110" y="14"/>
                  </a:cubicBezTo>
                  <a:cubicBezTo>
                    <a:pt x="108" y="14"/>
                    <a:pt x="108" y="15"/>
                    <a:pt x="108" y="16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11"/>
                    <a:pt x="109" y="10"/>
                    <a:pt x="111" y="10"/>
                  </a:cubicBezTo>
                  <a:cubicBezTo>
                    <a:pt x="114" y="10"/>
                    <a:pt x="115" y="13"/>
                    <a:pt x="115" y="18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16"/>
                    <a:pt x="111" y="16"/>
                    <a:pt x="111" y="16"/>
                  </a:cubicBezTo>
                  <a:close/>
                  <a:moveTo>
                    <a:pt x="126" y="28"/>
                  </a:moveTo>
                  <a:cubicBezTo>
                    <a:pt x="125" y="28"/>
                    <a:pt x="125" y="28"/>
                    <a:pt x="124" y="28"/>
                  </a:cubicBezTo>
                  <a:cubicBezTo>
                    <a:pt x="124" y="28"/>
                    <a:pt x="124" y="29"/>
                    <a:pt x="123" y="29"/>
                  </a:cubicBezTo>
                  <a:cubicBezTo>
                    <a:pt x="122" y="30"/>
                    <a:pt x="122" y="31"/>
                    <a:pt x="122" y="32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2" y="37"/>
                    <a:pt x="123" y="38"/>
                    <a:pt x="124" y="38"/>
                  </a:cubicBezTo>
                  <a:cubicBezTo>
                    <a:pt x="125" y="38"/>
                    <a:pt x="126" y="37"/>
                    <a:pt x="126" y="36"/>
                  </a:cubicBezTo>
                  <a:cubicBezTo>
                    <a:pt x="126" y="28"/>
                    <a:pt x="126" y="28"/>
                    <a:pt x="126" y="28"/>
                  </a:cubicBezTo>
                  <a:close/>
                  <a:moveTo>
                    <a:pt x="119" y="32"/>
                  </a:moveTo>
                  <a:cubicBezTo>
                    <a:pt x="119" y="29"/>
                    <a:pt x="119" y="28"/>
                    <a:pt x="122" y="26"/>
                  </a:cubicBezTo>
                  <a:cubicBezTo>
                    <a:pt x="122" y="25"/>
                    <a:pt x="123" y="25"/>
                    <a:pt x="124" y="24"/>
                  </a:cubicBezTo>
                  <a:cubicBezTo>
                    <a:pt x="124" y="24"/>
                    <a:pt x="125" y="23"/>
                    <a:pt x="126" y="23"/>
                  </a:cubicBezTo>
                  <a:cubicBezTo>
                    <a:pt x="126" y="16"/>
                    <a:pt x="126" y="16"/>
                    <a:pt x="126" y="16"/>
                  </a:cubicBezTo>
                  <a:cubicBezTo>
                    <a:pt x="126" y="15"/>
                    <a:pt x="125" y="14"/>
                    <a:pt x="124" y="14"/>
                  </a:cubicBezTo>
                  <a:cubicBezTo>
                    <a:pt x="123" y="14"/>
                    <a:pt x="122" y="15"/>
                    <a:pt x="122" y="16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19" y="22"/>
                    <a:pt x="119" y="22"/>
                    <a:pt x="119" y="22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3"/>
                    <a:pt x="121" y="10"/>
                    <a:pt x="124" y="10"/>
                  </a:cubicBezTo>
                  <a:cubicBezTo>
                    <a:pt x="127" y="10"/>
                    <a:pt x="130" y="13"/>
                    <a:pt x="130" y="18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26" y="42"/>
                    <a:pt x="126" y="42"/>
                    <a:pt x="126" y="42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5" y="41"/>
                    <a:pt x="124" y="42"/>
                    <a:pt x="123" y="42"/>
                  </a:cubicBezTo>
                  <a:cubicBezTo>
                    <a:pt x="120" y="42"/>
                    <a:pt x="119" y="39"/>
                    <a:pt x="119" y="34"/>
                  </a:cubicBezTo>
                  <a:lnTo>
                    <a:pt x="119" y="32"/>
                  </a:lnTo>
                  <a:close/>
                  <a:moveTo>
                    <a:pt x="147" y="16"/>
                  </a:moveTo>
                  <a:cubicBezTo>
                    <a:pt x="147" y="15"/>
                    <a:pt x="147" y="14"/>
                    <a:pt x="145" y="14"/>
                  </a:cubicBezTo>
                  <a:cubicBezTo>
                    <a:pt x="144" y="14"/>
                    <a:pt x="144" y="15"/>
                    <a:pt x="144" y="16"/>
                  </a:cubicBezTo>
                  <a:cubicBezTo>
                    <a:pt x="144" y="42"/>
                    <a:pt x="144" y="42"/>
                    <a:pt x="144" y="42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5"/>
                    <a:pt x="139" y="14"/>
                    <a:pt x="138" y="14"/>
                  </a:cubicBezTo>
                  <a:cubicBezTo>
                    <a:pt x="137" y="14"/>
                    <a:pt x="136" y="15"/>
                    <a:pt x="136" y="16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3" y="42"/>
                    <a:pt x="133" y="42"/>
                    <a:pt x="133" y="42"/>
                  </a:cubicBezTo>
                  <a:cubicBezTo>
                    <a:pt x="133" y="10"/>
                    <a:pt x="133" y="10"/>
                    <a:pt x="133" y="10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6" y="11"/>
                    <a:pt x="136" y="11"/>
                    <a:pt x="136" y="11"/>
                  </a:cubicBezTo>
                  <a:cubicBezTo>
                    <a:pt x="137" y="11"/>
                    <a:pt x="138" y="10"/>
                    <a:pt x="139" y="10"/>
                  </a:cubicBezTo>
                  <a:cubicBezTo>
                    <a:pt x="141" y="10"/>
                    <a:pt x="142" y="11"/>
                    <a:pt x="143" y="12"/>
                  </a:cubicBezTo>
                  <a:cubicBezTo>
                    <a:pt x="144" y="11"/>
                    <a:pt x="145" y="10"/>
                    <a:pt x="147" y="10"/>
                  </a:cubicBezTo>
                  <a:cubicBezTo>
                    <a:pt x="150" y="10"/>
                    <a:pt x="151" y="13"/>
                    <a:pt x="151" y="18"/>
                  </a:cubicBezTo>
                  <a:cubicBezTo>
                    <a:pt x="151" y="42"/>
                    <a:pt x="151" y="42"/>
                    <a:pt x="151" y="42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7" y="16"/>
                    <a:pt x="147" y="16"/>
                    <a:pt x="147" y="16"/>
                  </a:cubicBezTo>
                  <a:close/>
                  <a:moveTo>
                    <a:pt x="161" y="16"/>
                  </a:moveTo>
                  <a:cubicBezTo>
                    <a:pt x="161" y="15"/>
                    <a:pt x="161" y="14"/>
                    <a:pt x="160" y="14"/>
                  </a:cubicBezTo>
                  <a:cubicBezTo>
                    <a:pt x="158" y="14"/>
                    <a:pt x="158" y="15"/>
                    <a:pt x="158" y="16"/>
                  </a:cubicBezTo>
                  <a:cubicBezTo>
                    <a:pt x="158" y="42"/>
                    <a:pt x="158" y="42"/>
                    <a:pt x="158" y="42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4" y="10"/>
                    <a:pt x="154" y="10"/>
                    <a:pt x="154" y="10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58" y="11"/>
                    <a:pt x="158" y="11"/>
                    <a:pt x="158" y="11"/>
                  </a:cubicBezTo>
                  <a:cubicBezTo>
                    <a:pt x="158" y="11"/>
                    <a:pt x="159" y="10"/>
                    <a:pt x="161" y="10"/>
                  </a:cubicBezTo>
                  <a:cubicBezTo>
                    <a:pt x="164" y="10"/>
                    <a:pt x="165" y="13"/>
                    <a:pt x="165" y="18"/>
                  </a:cubicBezTo>
                  <a:cubicBezTo>
                    <a:pt x="165" y="42"/>
                    <a:pt x="165" y="42"/>
                    <a:pt x="165" y="42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16"/>
                    <a:pt x="161" y="16"/>
                    <a:pt x="161" y="16"/>
                  </a:cubicBezTo>
                  <a:close/>
                  <a:moveTo>
                    <a:pt x="172" y="5"/>
                  </a:moveTo>
                  <a:cubicBezTo>
                    <a:pt x="169" y="5"/>
                    <a:pt x="169" y="5"/>
                    <a:pt x="169" y="5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72" y="0"/>
                    <a:pt x="172" y="0"/>
                    <a:pt x="172" y="0"/>
                  </a:cubicBezTo>
                  <a:lnTo>
                    <a:pt x="172" y="5"/>
                  </a:lnTo>
                  <a:close/>
                  <a:moveTo>
                    <a:pt x="172" y="42"/>
                  </a:moveTo>
                  <a:cubicBezTo>
                    <a:pt x="169" y="42"/>
                    <a:pt x="169" y="42"/>
                    <a:pt x="169" y="42"/>
                  </a:cubicBezTo>
                  <a:cubicBezTo>
                    <a:pt x="169" y="10"/>
                    <a:pt x="169" y="10"/>
                    <a:pt x="169" y="10"/>
                  </a:cubicBezTo>
                  <a:cubicBezTo>
                    <a:pt x="172" y="10"/>
                    <a:pt x="172" y="10"/>
                    <a:pt x="172" y="10"/>
                  </a:cubicBezTo>
                  <a:lnTo>
                    <a:pt x="172" y="42"/>
                  </a:lnTo>
                  <a:close/>
                  <a:moveTo>
                    <a:pt x="179" y="36"/>
                  </a:moveTo>
                  <a:cubicBezTo>
                    <a:pt x="179" y="37"/>
                    <a:pt x="180" y="38"/>
                    <a:pt x="181" y="38"/>
                  </a:cubicBezTo>
                  <a:cubicBezTo>
                    <a:pt x="182" y="38"/>
                    <a:pt x="183" y="37"/>
                    <a:pt x="183" y="36"/>
                  </a:cubicBezTo>
                  <a:cubicBezTo>
                    <a:pt x="183" y="16"/>
                    <a:pt x="183" y="16"/>
                    <a:pt x="183" y="16"/>
                  </a:cubicBezTo>
                  <a:cubicBezTo>
                    <a:pt x="183" y="15"/>
                    <a:pt x="182" y="14"/>
                    <a:pt x="181" y="14"/>
                  </a:cubicBezTo>
                  <a:cubicBezTo>
                    <a:pt x="180" y="14"/>
                    <a:pt x="179" y="15"/>
                    <a:pt x="179" y="16"/>
                  </a:cubicBezTo>
                  <a:lnTo>
                    <a:pt x="179" y="36"/>
                  </a:lnTo>
                  <a:close/>
                  <a:moveTo>
                    <a:pt x="187" y="42"/>
                  </a:moveTo>
                  <a:cubicBezTo>
                    <a:pt x="183" y="42"/>
                    <a:pt x="183" y="42"/>
                    <a:pt x="183" y="42"/>
                  </a:cubicBezTo>
                  <a:cubicBezTo>
                    <a:pt x="183" y="40"/>
                    <a:pt x="183" y="40"/>
                    <a:pt x="183" y="40"/>
                  </a:cubicBezTo>
                  <a:cubicBezTo>
                    <a:pt x="182" y="41"/>
                    <a:pt x="181" y="42"/>
                    <a:pt x="180" y="42"/>
                  </a:cubicBezTo>
                  <a:cubicBezTo>
                    <a:pt x="177" y="42"/>
                    <a:pt x="175" y="39"/>
                    <a:pt x="175" y="34"/>
                  </a:cubicBezTo>
                  <a:cubicBezTo>
                    <a:pt x="175" y="18"/>
                    <a:pt x="175" y="18"/>
                    <a:pt x="175" y="18"/>
                  </a:cubicBezTo>
                  <a:cubicBezTo>
                    <a:pt x="175" y="13"/>
                    <a:pt x="177" y="10"/>
                    <a:pt x="180" y="10"/>
                  </a:cubicBezTo>
                  <a:cubicBezTo>
                    <a:pt x="181" y="10"/>
                    <a:pt x="182" y="11"/>
                    <a:pt x="183" y="11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7" y="0"/>
                    <a:pt x="187" y="0"/>
                    <a:pt x="187" y="0"/>
                  </a:cubicBezTo>
                  <a:lnTo>
                    <a:pt x="187" y="42"/>
                  </a:lnTo>
                  <a:close/>
                  <a:moveTo>
                    <a:pt x="197" y="28"/>
                  </a:moveTo>
                  <a:cubicBezTo>
                    <a:pt x="197" y="28"/>
                    <a:pt x="196" y="28"/>
                    <a:pt x="196" y="28"/>
                  </a:cubicBezTo>
                  <a:cubicBezTo>
                    <a:pt x="195" y="28"/>
                    <a:pt x="195" y="29"/>
                    <a:pt x="195" y="29"/>
                  </a:cubicBezTo>
                  <a:cubicBezTo>
                    <a:pt x="194" y="30"/>
                    <a:pt x="193" y="31"/>
                    <a:pt x="193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3" y="37"/>
                    <a:pt x="194" y="38"/>
                    <a:pt x="195" y="38"/>
                  </a:cubicBezTo>
                  <a:cubicBezTo>
                    <a:pt x="196" y="38"/>
                    <a:pt x="197" y="37"/>
                    <a:pt x="197" y="36"/>
                  </a:cubicBezTo>
                  <a:lnTo>
                    <a:pt x="197" y="28"/>
                  </a:lnTo>
                  <a:close/>
                  <a:moveTo>
                    <a:pt x="190" y="32"/>
                  </a:moveTo>
                  <a:cubicBezTo>
                    <a:pt x="190" y="29"/>
                    <a:pt x="191" y="28"/>
                    <a:pt x="192" y="26"/>
                  </a:cubicBezTo>
                  <a:cubicBezTo>
                    <a:pt x="194" y="25"/>
                    <a:pt x="195" y="25"/>
                    <a:pt x="195" y="24"/>
                  </a:cubicBezTo>
                  <a:cubicBezTo>
                    <a:pt x="196" y="24"/>
                    <a:pt x="197" y="23"/>
                    <a:pt x="197" y="23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7" y="15"/>
                    <a:pt x="197" y="14"/>
                    <a:pt x="195" y="14"/>
                  </a:cubicBezTo>
                  <a:cubicBezTo>
                    <a:pt x="195" y="14"/>
                    <a:pt x="194" y="15"/>
                    <a:pt x="194" y="16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0" y="22"/>
                    <a:pt x="190" y="22"/>
                    <a:pt x="190" y="22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3"/>
                    <a:pt x="192" y="10"/>
                    <a:pt x="195" y="10"/>
                  </a:cubicBezTo>
                  <a:cubicBezTo>
                    <a:pt x="199" y="10"/>
                    <a:pt x="201" y="13"/>
                    <a:pt x="201" y="18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97" y="40"/>
                    <a:pt x="197" y="40"/>
                    <a:pt x="197" y="40"/>
                  </a:cubicBezTo>
                  <a:cubicBezTo>
                    <a:pt x="197" y="41"/>
                    <a:pt x="195" y="42"/>
                    <a:pt x="194" y="42"/>
                  </a:cubicBezTo>
                  <a:cubicBezTo>
                    <a:pt x="191" y="42"/>
                    <a:pt x="190" y="39"/>
                    <a:pt x="190" y="34"/>
                  </a:cubicBezTo>
                  <a:cubicBezTo>
                    <a:pt x="190" y="32"/>
                    <a:pt x="190" y="32"/>
                    <a:pt x="190" y="3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 noEditPoints="1"/>
            </p:cNvSpPr>
            <p:nvPr/>
          </p:nvSpPr>
          <p:spPr bwMode="auto">
            <a:xfrm>
              <a:off x="6569077" y="3424646"/>
              <a:ext cx="314325" cy="279797"/>
            </a:xfrm>
            <a:custGeom>
              <a:avLst/>
              <a:gdLst/>
              <a:ahLst/>
              <a:cxnLst>
                <a:cxn ang="0">
                  <a:pos x="29" y="128"/>
                </a:cxn>
                <a:cxn ang="0">
                  <a:pos x="0" y="119"/>
                </a:cxn>
                <a:cxn ang="0">
                  <a:pos x="29" y="114"/>
                </a:cxn>
                <a:cxn ang="0">
                  <a:pos x="38" y="119"/>
                </a:cxn>
                <a:cxn ang="0">
                  <a:pos x="101" y="114"/>
                </a:cxn>
                <a:cxn ang="0">
                  <a:pos x="92" y="128"/>
                </a:cxn>
                <a:cxn ang="0">
                  <a:pos x="38" y="132"/>
                </a:cxn>
                <a:cxn ang="0">
                  <a:pos x="74" y="87"/>
                </a:cxn>
                <a:cxn ang="0">
                  <a:pos x="78" y="94"/>
                </a:cxn>
                <a:cxn ang="0">
                  <a:pos x="95" y="97"/>
                </a:cxn>
                <a:cxn ang="0">
                  <a:pos x="95" y="87"/>
                </a:cxn>
                <a:cxn ang="0">
                  <a:pos x="85" y="106"/>
                </a:cxn>
                <a:cxn ang="0">
                  <a:pos x="66" y="92"/>
                </a:cxn>
                <a:cxn ang="0">
                  <a:pos x="44" y="87"/>
                </a:cxn>
                <a:cxn ang="0">
                  <a:pos x="44" y="96"/>
                </a:cxn>
                <a:cxn ang="0">
                  <a:pos x="60" y="105"/>
                </a:cxn>
                <a:cxn ang="0">
                  <a:pos x="29" y="92"/>
                </a:cxn>
                <a:cxn ang="0">
                  <a:pos x="111" y="78"/>
                </a:cxn>
                <a:cxn ang="0">
                  <a:pos x="107" y="87"/>
                </a:cxn>
                <a:cxn ang="0">
                  <a:pos x="92" y="106"/>
                </a:cxn>
                <a:cxn ang="0">
                  <a:pos x="0" y="69"/>
                </a:cxn>
                <a:cxn ang="0">
                  <a:pos x="66" y="59"/>
                </a:cxn>
                <a:cxn ang="0">
                  <a:pos x="29" y="47"/>
                </a:cxn>
                <a:cxn ang="0">
                  <a:pos x="70" y="51"/>
                </a:cxn>
                <a:cxn ang="0">
                  <a:pos x="111" y="47"/>
                </a:cxn>
                <a:cxn ang="0">
                  <a:pos x="73" y="59"/>
                </a:cxn>
                <a:cxn ang="0">
                  <a:pos x="111" y="69"/>
                </a:cxn>
                <a:cxn ang="0">
                  <a:pos x="0" y="32"/>
                </a:cxn>
                <a:cxn ang="0">
                  <a:pos x="66" y="22"/>
                </a:cxn>
                <a:cxn ang="0">
                  <a:pos x="29" y="10"/>
                </a:cxn>
                <a:cxn ang="0">
                  <a:pos x="70" y="14"/>
                </a:cxn>
                <a:cxn ang="0">
                  <a:pos x="111" y="10"/>
                </a:cxn>
                <a:cxn ang="0">
                  <a:pos x="73" y="22"/>
                </a:cxn>
                <a:cxn ang="0">
                  <a:pos x="111" y="32"/>
                </a:cxn>
              </a:cxnLst>
              <a:rect l="0" t="0" r="r" b="b"/>
              <a:pathLst>
                <a:path w="111" h="132">
                  <a:moveTo>
                    <a:pt x="29" y="132"/>
                  </a:moveTo>
                  <a:cubicBezTo>
                    <a:pt x="29" y="128"/>
                    <a:pt x="29" y="128"/>
                    <a:pt x="29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38" y="114"/>
                    <a:pt x="38" y="114"/>
                    <a:pt x="38" y="114"/>
                  </a:cubicBezTo>
                  <a:cubicBezTo>
                    <a:pt x="38" y="119"/>
                    <a:pt x="38" y="119"/>
                    <a:pt x="38" y="119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9" y="119"/>
                    <a:pt x="101" y="117"/>
                    <a:pt x="101" y="114"/>
                  </a:cubicBezTo>
                  <a:cubicBezTo>
                    <a:pt x="111" y="114"/>
                    <a:pt x="111" y="114"/>
                    <a:pt x="111" y="114"/>
                  </a:cubicBezTo>
                  <a:cubicBezTo>
                    <a:pt x="111" y="123"/>
                    <a:pt x="104" y="128"/>
                    <a:pt x="92" y="128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29" y="132"/>
                    <a:pt x="29" y="132"/>
                    <a:pt x="29" y="132"/>
                  </a:cubicBezTo>
                  <a:close/>
                  <a:moveTo>
                    <a:pt x="74" y="87"/>
                  </a:moveTo>
                  <a:cubicBezTo>
                    <a:pt x="75" y="88"/>
                    <a:pt x="75" y="89"/>
                    <a:pt x="76" y="91"/>
                  </a:cubicBezTo>
                  <a:cubicBezTo>
                    <a:pt x="76" y="92"/>
                    <a:pt x="78" y="93"/>
                    <a:pt x="78" y="94"/>
                  </a:cubicBezTo>
                  <a:cubicBezTo>
                    <a:pt x="80" y="96"/>
                    <a:pt x="83" y="97"/>
                    <a:pt x="87" y="97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99" y="97"/>
                    <a:pt x="101" y="95"/>
                    <a:pt x="101" y="92"/>
                  </a:cubicBezTo>
                  <a:cubicBezTo>
                    <a:pt x="101" y="89"/>
                    <a:pt x="99" y="87"/>
                    <a:pt x="95" y="87"/>
                  </a:cubicBezTo>
                  <a:cubicBezTo>
                    <a:pt x="74" y="87"/>
                    <a:pt x="74" y="87"/>
                    <a:pt x="74" y="87"/>
                  </a:cubicBezTo>
                  <a:close/>
                  <a:moveTo>
                    <a:pt x="85" y="106"/>
                  </a:moveTo>
                  <a:cubicBezTo>
                    <a:pt x="79" y="106"/>
                    <a:pt x="74" y="104"/>
                    <a:pt x="70" y="99"/>
                  </a:cubicBezTo>
                  <a:cubicBezTo>
                    <a:pt x="69" y="97"/>
                    <a:pt x="67" y="94"/>
                    <a:pt x="66" y="92"/>
                  </a:cubicBezTo>
                  <a:cubicBezTo>
                    <a:pt x="64" y="91"/>
                    <a:pt x="63" y="89"/>
                    <a:pt x="62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0" y="87"/>
                    <a:pt x="38" y="89"/>
                    <a:pt x="38" y="92"/>
                  </a:cubicBezTo>
                  <a:cubicBezTo>
                    <a:pt x="38" y="94"/>
                    <a:pt x="40" y="96"/>
                    <a:pt x="44" y="96"/>
                  </a:cubicBezTo>
                  <a:cubicBezTo>
                    <a:pt x="60" y="96"/>
                    <a:pt x="60" y="96"/>
                    <a:pt x="60" y="96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35" y="105"/>
                    <a:pt x="29" y="101"/>
                    <a:pt x="29" y="92"/>
                  </a:cubicBezTo>
                  <a:cubicBezTo>
                    <a:pt x="29" y="82"/>
                    <a:pt x="35" y="78"/>
                    <a:pt x="48" y="78"/>
                  </a:cubicBezTo>
                  <a:cubicBezTo>
                    <a:pt x="111" y="78"/>
                    <a:pt x="111" y="78"/>
                    <a:pt x="111" y="78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07" y="87"/>
                    <a:pt x="107" y="87"/>
                    <a:pt x="107" y="87"/>
                  </a:cubicBezTo>
                  <a:cubicBezTo>
                    <a:pt x="110" y="89"/>
                    <a:pt x="111" y="91"/>
                    <a:pt x="111" y="95"/>
                  </a:cubicBezTo>
                  <a:cubicBezTo>
                    <a:pt x="111" y="102"/>
                    <a:pt x="104" y="106"/>
                    <a:pt x="92" y="106"/>
                  </a:cubicBezTo>
                  <a:lnTo>
                    <a:pt x="85" y="106"/>
                  </a:lnTo>
                  <a:close/>
                  <a:moveTo>
                    <a:pt x="0" y="69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111" y="59"/>
                    <a:pt x="111" y="59"/>
                    <a:pt x="111" y="59"/>
                  </a:cubicBezTo>
                  <a:cubicBezTo>
                    <a:pt x="111" y="69"/>
                    <a:pt x="111" y="69"/>
                    <a:pt x="111" y="69"/>
                  </a:cubicBezTo>
                  <a:lnTo>
                    <a:pt x="0" y="69"/>
                  </a:lnTo>
                  <a:close/>
                  <a:moveTo>
                    <a:pt x="0" y="3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0" y="32"/>
                    <a:pt x="0" y="32"/>
                    <a:pt x="0" y="3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2978151" y="3118656"/>
              <a:ext cx="742950" cy="116681"/>
            </a:xfrm>
            <a:custGeom>
              <a:avLst/>
              <a:gdLst/>
              <a:ahLst/>
              <a:cxnLst>
                <a:cxn ang="0">
                  <a:pos x="5" y="47"/>
                </a:cxn>
                <a:cxn ang="0">
                  <a:pos x="15" y="40"/>
                </a:cxn>
                <a:cxn ang="0">
                  <a:pos x="0" y="24"/>
                </a:cxn>
                <a:cxn ang="0">
                  <a:pos x="10" y="29"/>
                </a:cxn>
                <a:cxn ang="0">
                  <a:pos x="24" y="22"/>
                </a:cxn>
                <a:cxn ang="0">
                  <a:pos x="24" y="0"/>
                </a:cxn>
                <a:cxn ang="0">
                  <a:pos x="33" y="55"/>
                </a:cxn>
                <a:cxn ang="0">
                  <a:pos x="45" y="19"/>
                </a:cxn>
                <a:cxn ang="0">
                  <a:pos x="38" y="14"/>
                </a:cxn>
                <a:cxn ang="0">
                  <a:pos x="52" y="24"/>
                </a:cxn>
                <a:cxn ang="0">
                  <a:pos x="66" y="22"/>
                </a:cxn>
                <a:cxn ang="0">
                  <a:pos x="64" y="50"/>
                </a:cxn>
                <a:cxn ang="0">
                  <a:pos x="64" y="55"/>
                </a:cxn>
                <a:cxn ang="0">
                  <a:pos x="71" y="24"/>
                </a:cxn>
                <a:cxn ang="0">
                  <a:pos x="84" y="20"/>
                </a:cxn>
                <a:cxn ang="0">
                  <a:pos x="76" y="55"/>
                </a:cxn>
                <a:cxn ang="0">
                  <a:pos x="97" y="37"/>
                </a:cxn>
                <a:cxn ang="0">
                  <a:pos x="93" y="47"/>
                </a:cxn>
                <a:cxn ang="0">
                  <a:pos x="88" y="42"/>
                </a:cxn>
                <a:cxn ang="0">
                  <a:pos x="97" y="22"/>
                </a:cxn>
                <a:cxn ang="0">
                  <a:pos x="88" y="29"/>
                </a:cxn>
                <a:cxn ang="0">
                  <a:pos x="102" y="55"/>
                </a:cxn>
                <a:cxn ang="0">
                  <a:pos x="88" y="45"/>
                </a:cxn>
                <a:cxn ang="0">
                  <a:pos x="111" y="33"/>
                </a:cxn>
                <a:cxn ang="0">
                  <a:pos x="115" y="35"/>
                </a:cxn>
                <a:cxn ang="0">
                  <a:pos x="111" y="36"/>
                </a:cxn>
                <a:cxn ang="0">
                  <a:pos x="135" y="37"/>
                </a:cxn>
                <a:cxn ang="0">
                  <a:pos x="130" y="47"/>
                </a:cxn>
                <a:cxn ang="0">
                  <a:pos x="125" y="42"/>
                </a:cxn>
                <a:cxn ang="0">
                  <a:pos x="135" y="22"/>
                </a:cxn>
                <a:cxn ang="0">
                  <a:pos x="126" y="29"/>
                </a:cxn>
                <a:cxn ang="0">
                  <a:pos x="139" y="55"/>
                </a:cxn>
                <a:cxn ang="0">
                  <a:pos x="125" y="45"/>
                </a:cxn>
                <a:cxn ang="0">
                  <a:pos x="148" y="55"/>
                </a:cxn>
                <a:cxn ang="0">
                  <a:pos x="159" y="19"/>
                </a:cxn>
                <a:cxn ang="0">
                  <a:pos x="162" y="47"/>
                </a:cxn>
                <a:cxn ang="0">
                  <a:pos x="152" y="45"/>
                </a:cxn>
                <a:cxn ang="0">
                  <a:pos x="166" y="45"/>
                </a:cxn>
                <a:cxn ang="0">
                  <a:pos x="180" y="14"/>
                </a:cxn>
                <a:cxn ang="0">
                  <a:pos x="180" y="54"/>
                </a:cxn>
                <a:cxn ang="0">
                  <a:pos x="176" y="14"/>
                </a:cxn>
                <a:cxn ang="0">
                  <a:pos x="190" y="0"/>
                </a:cxn>
                <a:cxn ang="0">
                  <a:pos x="197" y="19"/>
                </a:cxn>
                <a:cxn ang="0">
                  <a:pos x="197" y="55"/>
                </a:cxn>
                <a:cxn ang="0">
                  <a:pos x="188" y="14"/>
                </a:cxn>
                <a:cxn ang="0">
                  <a:pos x="206" y="0"/>
                </a:cxn>
                <a:cxn ang="0">
                  <a:pos x="201" y="14"/>
                </a:cxn>
                <a:cxn ang="0">
                  <a:pos x="217" y="19"/>
                </a:cxn>
                <a:cxn ang="0">
                  <a:pos x="220" y="47"/>
                </a:cxn>
                <a:cxn ang="0">
                  <a:pos x="210" y="45"/>
                </a:cxn>
                <a:cxn ang="0">
                  <a:pos x="224" y="45"/>
                </a:cxn>
                <a:cxn ang="0">
                  <a:pos x="239" y="14"/>
                </a:cxn>
                <a:cxn ang="0">
                  <a:pos x="239" y="54"/>
                </a:cxn>
                <a:cxn ang="0">
                  <a:pos x="234" y="14"/>
                </a:cxn>
                <a:cxn ang="0">
                  <a:pos x="253" y="22"/>
                </a:cxn>
                <a:cxn ang="0">
                  <a:pos x="253" y="14"/>
                </a:cxn>
                <a:cxn ang="0">
                  <a:pos x="262" y="55"/>
                </a:cxn>
              </a:cxnLst>
              <a:rect l="0" t="0" r="r" b="b"/>
              <a:pathLst>
                <a:path w="262" h="5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2" y="55"/>
                    <a:pt x="7" y="55"/>
                  </a:cubicBezTo>
                  <a:cubicBezTo>
                    <a:pt x="3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3" y="14"/>
                    <a:pt x="7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0" y="29"/>
                    <a:pt x="10" y="29"/>
                    <a:pt x="10" y="29"/>
                  </a:cubicBezTo>
                  <a:lnTo>
                    <a:pt x="10" y="22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6" y="19"/>
                  </a:cubicBezTo>
                  <a:cubicBezTo>
                    <a:pt x="24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5" y="14"/>
                    <a:pt x="28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9" y="55"/>
                    <a:pt x="29" y="55"/>
                    <a:pt x="29" y="55"/>
                  </a:cubicBezTo>
                  <a:lnTo>
                    <a:pt x="29" y="22"/>
                  </a:lnTo>
                  <a:close/>
                  <a:moveTo>
                    <a:pt x="47" y="22"/>
                  </a:moveTo>
                  <a:cubicBezTo>
                    <a:pt x="47" y="20"/>
                    <a:pt x="47" y="19"/>
                    <a:pt x="45" y="19"/>
                  </a:cubicBezTo>
                  <a:cubicBezTo>
                    <a:pt x="43" y="19"/>
                    <a:pt x="43" y="20"/>
                    <a:pt x="43" y="2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4"/>
                    <a:pt x="44" y="14"/>
                    <a:pt x="47" y="14"/>
                  </a:cubicBezTo>
                  <a:cubicBezTo>
                    <a:pt x="51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66" y="22"/>
                  </a:moveTo>
                  <a:cubicBezTo>
                    <a:pt x="66" y="20"/>
                    <a:pt x="66" y="19"/>
                    <a:pt x="64" y="19"/>
                  </a:cubicBezTo>
                  <a:cubicBezTo>
                    <a:pt x="62" y="19"/>
                    <a:pt x="61" y="20"/>
                    <a:pt x="61" y="22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9"/>
                    <a:pt x="62" y="50"/>
                    <a:pt x="64" y="50"/>
                  </a:cubicBezTo>
                  <a:cubicBezTo>
                    <a:pt x="66" y="50"/>
                    <a:pt x="66" y="49"/>
                    <a:pt x="66" y="47"/>
                  </a:cubicBezTo>
                  <a:lnTo>
                    <a:pt x="66" y="22"/>
                  </a:lnTo>
                  <a:close/>
                  <a:moveTo>
                    <a:pt x="71" y="45"/>
                  </a:moveTo>
                  <a:cubicBezTo>
                    <a:pt x="71" y="52"/>
                    <a:pt x="69" y="55"/>
                    <a:pt x="64" y="55"/>
                  </a:cubicBezTo>
                  <a:cubicBezTo>
                    <a:pt x="59" y="55"/>
                    <a:pt x="57" y="52"/>
                    <a:pt x="57" y="4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17"/>
                    <a:pt x="59" y="14"/>
                    <a:pt x="64" y="14"/>
                  </a:cubicBezTo>
                  <a:cubicBezTo>
                    <a:pt x="69" y="14"/>
                    <a:pt x="71" y="17"/>
                    <a:pt x="71" y="24"/>
                  </a:cubicBezTo>
                  <a:lnTo>
                    <a:pt x="71" y="45"/>
                  </a:lnTo>
                  <a:close/>
                  <a:moveTo>
                    <a:pt x="80" y="15"/>
                  </a:moveTo>
                  <a:cubicBezTo>
                    <a:pt x="81" y="14"/>
                    <a:pt x="83" y="14"/>
                    <a:pt x="84" y="14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19"/>
                    <a:pt x="84" y="19"/>
                    <a:pt x="83" y="19"/>
                  </a:cubicBezTo>
                  <a:cubicBezTo>
                    <a:pt x="81" y="19"/>
                    <a:pt x="80" y="20"/>
                    <a:pt x="80" y="22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5"/>
                    <a:pt x="80" y="15"/>
                    <a:pt x="80" y="15"/>
                  </a:cubicBezTo>
                  <a:close/>
                  <a:moveTo>
                    <a:pt x="97" y="37"/>
                  </a:moveTo>
                  <a:cubicBezTo>
                    <a:pt x="97" y="37"/>
                    <a:pt x="96" y="37"/>
                    <a:pt x="96" y="38"/>
                  </a:cubicBezTo>
                  <a:cubicBezTo>
                    <a:pt x="95" y="38"/>
                    <a:pt x="94" y="38"/>
                    <a:pt x="94" y="39"/>
                  </a:cubicBezTo>
                  <a:cubicBezTo>
                    <a:pt x="93" y="40"/>
                    <a:pt x="93" y="41"/>
                    <a:pt x="93" y="43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9"/>
                    <a:pt x="93" y="50"/>
                    <a:pt x="95" y="50"/>
                  </a:cubicBezTo>
                  <a:cubicBezTo>
                    <a:pt x="97" y="50"/>
                    <a:pt x="97" y="49"/>
                    <a:pt x="97" y="47"/>
                  </a:cubicBezTo>
                  <a:cubicBezTo>
                    <a:pt x="97" y="37"/>
                    <a:pt x="97" y="37"/>
                    <a:pt x="97" y="37"/>
                  </a:cubicBezTo>
                  <a:close/>
                  <a:moveTo>
                    <a:pt x="88" y="42"/>
                  </a:moveTo>
                  <a:cubicBezTo>
                    <a:pt x="88" y="39"/>
                    <a:pt x="89" y="37"/>
                    <a:pt x="92" y="35"/>
                  </a:cubicBezTo>
                  <a:cubicBezTo>
                    <a:pt x="93" y="34"/>
                    <a:pt x="94" y="33"/>
                    <a:pt x="95" y="32"/>
                  </a:cubicBezTo>
                  <a:cubicBezTo>
                    <a:pt x="96" y="32"/>
                    <a:pt x="97" y="31"/>
                    <a:pt x="97" y="31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0"/>
                    <a:pt x="97" y="19"/>
                    <a:pt x="95" y="19"/>
                  </a:cubicBezTo>
                  <a:cubicBezTo>
                    <a:pt x="94" y="19"/>
                    <a:pt x="93" y="20"/>
                    <a:pt x="93" y="22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8" y="17"/>
                    <a:pt x="90" y="14"/>
                    <a:pt x="95" y="14"/>
                  </a:cubicBezTo>
                  <a:cubicBezTo>
                    <a:pt x="99" y="14"/>
                    <a:pt x="102" y="17"/>
                    <a:pt x="102" y="24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4"/>
                    <a:pt x="95" y="55"/>
                    <a:pt x="93" y="55"/>
                  </a:cubicBezTo>
                  <a:cubicBezTo>
                    <a:pt x="89" y="55"/>
                    <a:pt x="88" y="52"/>
                    <a:pt x="88" y="45"/>
                  </a:cubicBezTo>
                  <a:cubicBezTo>
                    <a:pt x="88" y="42"/>
                    <a:pt x="88" y="42"/>
                    <a:pt x="88" y="42"/>
                  </a:cubicBezTo>
                  <a:close/>
                  <a:moveTo>
                    <a:pt x="107" y="0"/>
                  </a:moveTo>
                  <a:cubicBezTo>
                    <a:pt x="111" y="0"/>
                    <a:pt x="111" y="0"/>
                    <a:pt x="111" y="0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117" y="14"/>
                    <a:pt x="117" y="14"/>
                    <a:pt x="117" y="14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23" y="55"/>
                    <a:pt x="123" y="55"/>
                    <a:pt x="123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55"/>
                    <a:pt x="111" y="55"/>
                    <a:pt x="111" y="55"/>
                  </a:cubicBezTo>
                  <a:cubicBezTo>
                    <a:pt x="107" y="55"/>
                    <a:pt x="107" y="55"/>
                    <a:pt x="107" y="55"/>
                  </a:cubicBezTo>
                  <a:lnTo>
                    <a:pt x="107" y="0"/>
                  </a:lnTo>
                  <a:close/>
                  <a:moveTo>
                    <a:pt x="135" y="37"/>
                  </a:moveTo>
                  <a:cubicBezTo>
                    <a:pt x="134" y="37"/>
                    <a:pt x="134" y="37"/>
                    <a:pt x="133" y="38"/>
                  </a:cubicBezTo>
                  <a:cubicBezTo>
                    <a:pt x="133" y="38"/>
                    <a:pt x="132" y="38"/>
                    <a:pt x="132" y="39"/>
                  </a:cubicBezTo>
                  <a:cubicBezTo>
                    <a:pt x="130" y="40"/>
                    <a:pt x="130" y="41"/>
                    <a:pt x="130" y="43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9"/>
                    <a:pt x="131" y="50"/>
                    <a:pt x="132" y="50"/>
                  </a:cubicBezTo>
                  <a:cubicBezTo>
                    <a:pt x="134" y="50"/>
                    <a:pt x="135" y="49"/>
                    <a:pt x="135" y="47"/>
                  </a:cubicBezTo>
                  <a:cubicBezTo>
                    <a:pt x="135" y="37"/>
                    <a:pt x="135" y="37"/>
                    <a:pt x="135" y="37"/>
                  </a:cubicBezTo>
                  <a:close/>
                  <a:moveTo>
                    <a:pt x="125" y="42"/>
                  </a:moveTo>
                  <a:cubicBezTo>
                    <a:pt x="125" y="39"/>
                    <a:pt x="126" y="37"/>
                    <a:pt x="129" y="35"/>
                  </a:cubicBezTo>
                  <a:cubicBezTo>
                    <a:pt x="130" y="34"/>
                    <a:pt x="131" y="33"/>
                    <a:pt x="132" y="32"/>
                  </a:cubicBezTo>
                  <a:cubicBezTo>
                    <a:pt x="133" y="32"/>
                    <a:pt x="134" y="31"/>
                    <a:pt x="135" y="31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5" y="20"/>
                    <a:pt x="134" y="19"/>
                    <a:pt x="133" y="19"/>
                  </a:cubicBezTo>
                  <a:cubicBezTo>
                    <a:pt x="131" y="19"/>
                    <a:pt x="130" y="20"/>
                    <a:pt x="130" y="22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26" y="17"/>
                    <a:pt x="128" y="14"/>
                    <a:pt x="133" y="14"/>
                  </a:cubicBezTo>
                  <a:cubicBezTo>
                    <a:pt x="137" y="14"/>
                    <a:pt x="139" y="17"/>
                    <a:pt x="139" y="24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35" y="55"/>
                    <a:pt x="135" y="55"/>
                    <a:pt x="135" y="55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4" y="54"/>
                    <a:pt x="133" y="55"/>
                    <a:pt x="131" y="55"/>
                  </a:cubicBezTo>
                  <a:cubicBezTo>
                    <a:pt x="127" y="55"/>
                    <a:pt x="125" y="52"/>
                    <a:pt x="125" y="45"/>
                  </a:cubicBezTo>
                  <a:cubicBezTo>
                    <a:pt x="125" y="42"/>
                    <a:pt x="125" y="42"/>
                    <a:pt x="125" y="42"/>
                  </a:cubicBezTo>
                  <a:close/>
                  <a:moveTo>
                    <a:pt x="143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55"/>
                    <a:pt x="148" y="55"/>
                    <a:pt x="148" y="55"/>
                  </a:cubicBezTo>
                  <a:cubicBezTo>
                    <a:pt x="143" y="55"/>
                    <a:pt x="143" y="55"/>
                    <a:pt x="143" y="55"/>
                  </a:cubicBezTo>
                  <a:lnTo>
                    <a:pt x="143" y="0"/>
                  </a:lnTo>
                  <a:close/>
                  <a:moveTo>
                    <a:pt x="162" y="22"/>
                  </a:moveTo>
                  <a:cubicBezTo>
                    <a:pt x="162" y="20"/>
                    <a:pt x="161" y="19"/>
                    <a:pt x="159" y="19"/>
                  </a:cubicBezTo>
                  <a:cubicBezTo>
                    <a:pt x="157" y="19"/>
                    <a:pt x="157" y="20"/>
                    <a:pt x="157" y="22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9"/>
                    <a:pt x="158" y="50"/>
                    <a:pt x="159" y="50"/>
                  </a:cubicBezTo>
                  <a:cubicBezTo>
                    <a:pt x="161" y="50"/>
                    <a:pt x="162" y="49"/>
                    <a:pt x="162" y="47"/>
                  </a:cubicBezTo>
                  <a:lnTo>
                    <a:pt x="162" y="22"/>
                  </a:lnTo>
                  <a:close/>
                  <a:moveTo>
                    <a:pt x="166" y="45"/>
                  </a:moveTo>
                  <a:cubicBezTo>
                    <a:pt x="166" y="52"/>
                    <a:pt x="164" y="55"/>
                    <a:pt x="159" y="55"/>
                  </a:cubicBezTo>
                  <a:cubicBezTo>
                    <a:pt x="155" y="55"/>
                    <a:pt x="152" y="52"/>
                    <a:pt x="152" y="45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17"/>
                    <a:pt x="155" y="14"/>
                    <a:pt x="159" y="14"/>
                  </a:cubicBezTo>
                  <a:cubicBezTo>
                    <a:pt x="164" y="14"/>
                    <a:pt x="166" y="17"/>
                    <a:pt x="166" y="24"/>
                  </a:cubicBezTo>
                  <a:lnTo>
                    <a:pt x="166" y="45"/>
                  </a:lnTo>
                  <a:close/>
                  <a:moveTo>
                    <a:pt x="176" y="47"/>
                  </a:moveTo>
                  <a:cubicBezTo>
                    <a:pt x="176" y="49"/>
                    <a:pt x="176" y="50"/>
                    <a:pt x="178" y="50"/>
                  </a:cubicBezTo>
                  <a:cubicBezTo>
                    <a:pt x="180" y="50"/>
                    <a:pt x="180" y="49"/>
                    <a:pt x="180" y="47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5" y="14"/>
                    <a:pt x="185" y="14"/>
                    <a:pt x="185" y="14"/>
                  </a:cubicBezTo>
                  <a:cubicBezTo>
                    <a:pt x="185" y="55"/>
                    <a:pt x="185" y="55"/>
                    <a:pt x="185" y="55"/>
                  </a:cubicBezTo>
                  <a:cubicBezTo>
                    <a:pt x="180" y="55"/>
                    <a:pt x="180" y="55"/>
                    <a:pt x="180" y="55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80" y="55"/>
                    <a:pt x="179" y="55"/>
                    <a:pt x="176" y="55"/>
                  </a:cubicBezTo>
                  <a:cubicBezTo>
                    <a:pt x="173" y="55"/>
                    <a:pt x="171" y="52"/>
                    <a:pt x="171" y="45"/>
                  </a:cubicBezTo>
                  <a:cubicBezTo>
                    <a:pt x="171" y="14"/>
                    <a:pt x="171" y="14"/>
                    <a:pt x="171" y="14"/>
                  </a:cubicBezTo>
                  <a:cubicBezTo>
                    <a:pt x="176" y="14"/>
                    <a:pt x="176" y="14"/>
                    <a:pt x="176" y="14"/>
                  </a:cubicBezTo>
                  <a:cubicBezTo>
                    <a:pt x="176" y="47"/>
                    <a:pt x="176" y="47"/>
                    <a:pt x="176" y="47"/>
                  </a:cubicBezTo>
                  <a:close/>
                  <a:moveTo>
                    <a:pt x="188" y="14"/>
                  </a:moveTo>
                  <a:cubicBezTo>
                    <a:pt x="190" y="14"/>
                    <a:pt x="190" y="14"/>
                    <a:pt x="190" y="14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5" y="19"/>
                    <a:pt x="195" y="19"/>
                    <a:pt x="195" y="19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5" y="49"/>
                    <a:pt x="196" y="50"/>
                    <a:pt x="197" y="50"/>
                  </a:cubicBezTo>
                  <a:cubicBezTo>
                    <a:pt x="197" y="55"/>
                    <a:pt x="197" y="55"/>
                    <a:pt x="197" y="55"/>
                  </a:cubicBezTo>
                  <a:cubicBezTo>
                    <a:pt x="192" y="55"/>
                    <a:pt x="190" y="52"/>
                    <a:pt x="190" y="45"/>
                  </a:cubicBezTo>
                  <a:cubicBezTo>
                    <a:pt x="190" y="19"/>
                    <a:pt x="190" y="19"/>
                    <a:pt x="190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4"/>
                    <a:pt x="188" y="14"/>
                    <a:pt x="188" y="14"/>
                  </a:cubicBezTo>
                  <a:close/>
                  <a:moveTo>
                    <a:pt x="206" y="7"/>
                  </a:moveTo>
                  <a:cubicBezTo>
                    <a:pt x="201" y="7"/>
                    <a:pt x="201" y="7"/>
                    <a:pt x="201" y="7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6" y="0"/>
                    <a:pt x="206" y="0"/>
                    <a:pt x="206" y="0"/>
                  </a:cubicBezTo>
                  <a:lnTo>
                    <a:pt x="206" y="7"/>
                  </a:lnTo>
                  <a:close/>
                  <a:moveTo>
                    <a:pt x="206" y="55"/>
                  </a:moveTo>
                  <a:cubicBezTo>
                    <a:pt x="201" y="55"/>
                    <a:pt x="201" y="55"/>
                    <a:pt x="201" y="55"/>
                  </a:cubicBezTo>
                  <a:cubicBezTo>
                    <a:pt x="201" y="14"/>
                    <a:pt x="201" y="14"/>
                    <a:pt x="201" y="14"/>
                  </a:cubicBezTo>
                  <a:cubicBezTo>
                    <a:pt x="206" y="14"/>
                    <a:pt x="206" y="14"/>
                    <a:pt x="206" y="14"/>
                  </a:cubicBezTo>
                  <a:lnTo>
                    <a:pt x="206" y="55"/>
                  </a:lnTo>
                  <a:close/>
                  <a:moveTo>
                    <a:pt x="220" y="22"/>
                  </a:moveTo>
                  <a:cubicBezTo>
                    <a:pt x="220" y="20"/>
                    <a:pt x="219" y="19"/>
                    <a:pt x="217" y="19"/>
                  </a:cubicBezTo>
                  <a:cubicBezTo>
                    <a:pt x="216" y="19"/>
                    <a:pt x="215" y="20"/>
                    <a:pt x="215" y="22"/>
                  </a:cubicBezTo>
                  <a:cubicBezTo>
                    <a:pt x="215" y="47"/>
                    <a:pt x="215" y="47"/>
                    <a:pt x="215" y="47"/>
                  </a:cubicBezTo>
                  <a:cubicBezTo>
                    <a:pt x="215" y="49"/>
                    <a:pt x="216" y="50"/>
                    <a:pt x="217" y="50"/>
                  </a:cubicBezTo>
                  <a:cubicBezTo>
                    <a:pt x="219" y="50"/>
                    <a:pt x="220" y="49"/>
                    <a:pt x="220" y="47"/>
                  </a:cubicBezTo>
                  <a:lnTo>
                    <a:pt x="220" y="22"/>
                  </a:lnTo>
                  <a:close/>
                  <a:moveTo>
                    <a:pt x="224" y="45"/>
                  </a:moveTo>
                  <a:cubicBezTo>
                    <a:pt x="224" y="52"/>
                    <a:pt x="222" y="55"/>
                    <a:pt x="217" y="55"/>
                  </a:cubicBezTo>
                  <a:cubicBezTo>
                    <a:pt x="212" y="55"/>
                    <a:pt x="210" y="52"/>
                    <a:pt x="210" y="45"/>
                  </a:cubicBezTo>
                  <a:cubicBezTo>
                    <a:pt x="210" y="24"/>
                    <a:pt x="210" y="24"/>
                    <a:pt x="210" y="24"/>
                  </a:cubicBezTo>
                  <a:cubicBezTo>
                    <a:pt x="210" y="17"/>
                    <a:pt x="212" y="14"/>
                    <a:pt x="217" y="14"/>
                  </a:cubicBezTo>
                  <a:cubicBezTo>
                    <a:pt x="222" y="14"/>
                    <a:pt x="224" y="17"/>
                    <a:pt x="224" y="24"/>
                  </a:cubicBezTo>
                  <a:lnTo>
                    <a:pt x="224" y="45"/>
                  </a:lnTo>
                  <a:close/>
                  <a:moveTo>
                    <a:pt x="234" y="47"/>
                  </a:moveTo>
                  <a:cubicBezTo>
                    <a:pt x="234" y="49"/>
                    <a:pt x="234" y="50"/>
                    <a:pt x="236" y="50"/>
                  </a:cubicBezTo>
                  <a:cubicBezTo>
                    <a:pt x="238" y="50"/>
                    <a:pt x="239" y="49"/>
                    <a:pt x="239" y="47"/>
                  </a:cubicBezTo>
                  <a:cubicBezTo>
                    <a:pt x="239" y="14"/>
                    <a:pt x="239" y="14"/>
                    <a:pt x="239" y="14"/>
                  </a:cubicBezTo>
                  <a:cubicBezTo>
                    <a:pt x="243" y="14"/>
                    <a:pt x="243" y="14"/>
                    <a:pt x="243" y="14"/>
                  </a:cubicBezTo>
                  <a:cubicBezTo>
                    <a:pt x="243" y="55"/>
                    <a:pt x="243" y="55"/>
                    <a:pt x="243" y="55"/>
                  </a:cubicBezTo>
                  <a:cubicBezTo>
                    <a:pt x="239" y="55"/>
                    <a:pt x="239" y="55"/>
                    <a:pt x="239" y="55"/>
                  </a:cubicBezTo>
                  <a:cubicBezTo>
                    <a:pt x="239" y="54"/>
                    <a:pt x="239" y="54"/>
                    <a:pt x="239" y="54"/>
                  </a:cubicBezTo>
                  <a:cubicBezTo>
                    <a:pt x="238" y="55"/>
                    <a:pt x="237" y="55"/>
                    <a:pt x="235" y="55"/>
                  </a:cubicBezTo>
                  <a:cubicBezTo>
                    <a:pt x="231" y="55"/>
                    <a:pt x="229" y="52"/>
                    <a:pt x="229" y="45"/>
                  </a:cubicBezTo>
                  <a:cubicBezTo>
                    <a:pt x="229" y="14"/>
                    <a:pt x="229" y="14"/>
                    <a:pt x="229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4" y="47"/>
                    <a:pt x="234" y="47"/>
                    <a:pt x="234" y="47"/>
                  </a:cubicBezTo>
                  <a:close/>
                  <a:moveTo>
                    <a:pt x="257" y="22"/>
                  </a:moveTo>
                  <a:cubicBezTo>
                    <a:pt x="257" y="20"/>
                    <a:pt x="257" y="19"/>
                    <a:pt x="255" y="19"/>
                  </a:cubicBezTo>
                  <a:cubicBezTo>
                    <a:pt x="253" y="19"/>
                    <a:pt x="253" y="20"/>
                    <a:pt x="253" y="22"/>
                  </a:cubicBezTo>
                  <a:cubicBezTo>
                    <a:pt x="253" y="55"/>
                    <a:pt x="253" y="55"/>
                    <a:pt x="253" y="55"/>
                  </a:cubicBezTo>
                  <a:cubicBezTo>
                    <a:pt x="248" y="55"/>
                    <a:pt x="248" y="55"/>
                    <a:pt x="248" y="55"/>
                  </a:cubicBezTo>
                  <a:cubicBezTo>
                    <a:pt x="248" y="14"/>
                    <a:pt x="248" y="14"/>
                    <a:pt x="248" y="14"/>
                  </a:cubicBezTo>
                  <a:cubicBezTo>
                    <a:pt x="253" y="14"/>
                    <a:pt x="253" y="14"/>
                    <a:pt x="253" y="14"/>
                  </a:cubicBezTo>
                  <a:cubicBezTo>
                    <a:pt x="253" y="15"/>
                    <a:pt x="253" y="15"/>
                    <a:pt x="253" y="15"/>
                  </a:cubicBezTo>
                  <a:cubicBezTo>
                    <a:pt x="253" y="14"/>
                    <a:pt x="255" y="14"/>
                    <a:pt x="257" y="14"/>
                  </a:cubicBezTo>
                  <a:cubicBezTo>
                    <a:pt x="261" y="14"/>
                    <a:pt x="262" y="17"/>
                    <a:pt x="262" y="24"/>
                  </a:cubicBezTo>
                  <a:cubicBezTo>
                    <a:pt x="262" y="55"/>
                    <a:pt x="262" y="55"/>
                    <a:pt x="262" y="55"/>
                  </a:cubicBezTo>
                  <a:cubicBezTo>
                    <a:pt x="257" y="55"/>
                    <a:pt x="257" y="55"/>
                    <a:pt x="257" y="55"/>
                  </a:cubicBezTo>
                  <a:cubicBezTo>
                    <a:pt x="257" y="22"/>
                    <a:pt x="257" y="22"/>
                    <a:pt x="257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 noEditPoints="1"/>
            </p:cNvSpPr>
            <p:nvPr/>
          </p:nvSpPr>
          <p:spPr bwMode="auto">
            <a:xfrm>
              <a:off x="3571877" y="2218543"/>
              <a:ext cx="498475" cy="138113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0" y="48"/>
                </a:cxn>
                <a:cxn ang="0">
                  <a:pos x="5" y="0"/>
                </a:cxn>
                <a:cxn ang="0">
                  <a:pos x="15" y="24"/>
                </a:cxn>
                <a:cxn ang="0">
                  <a:pos x="3" y="52"/>
                </a:cxn>
                <a:cxn ang="0">
                  <a:pos x="0" y="0"/>
                </a:cxn>
                <a:cxn ang="0">
                  <a:pos x="23" y="56"/>
                </a:cxn>
                <a:cxn ang="0">
                  <a:pos x="37" y="37"/>
                </a:cxn>
                <a:cxn ang="0">
                  <a:pos x="32" y="43"/>
                </a:cxn>
                <a:cxn ang="0">
                  <a:pos x="37" y="48"/>
                </a:cxn>
                <a:cxn ang="0">
                  <a:pos x="30" y="35"/>
                </a:cxn>
                <a:cxn ang="0">
                  <a:pos x="37" y="22"/>
                </a:cxn>
                <a:cxn ang="0">
                  <a:pos x="32" y="30"/>
                </a:cxn>
                <a:cxn ang="0">
                  <a:pos x="34" y="15"/>
                </a:cxn>
                <a:cxn ang="0">
                  <a:pos x="37" y="56"/>
                </a:cxn>
                <a:cxn ang="0">
                  <a:pos x="27" y="46"/>
                </a:cxn>
                <a:cxn ang="0">
                  <a:pos x="53" y="49"/>
                </a:cxn>
                <a:cxn ang="0">
                  <a:pos x="53" y="19"/>
                </a:cxn>
                <a:cxn ang="0">
                  <a:pos x="53" y="61"/>
                </a:cxn>
                <a:cxn ang="0">
                  <a:pos x="51" y="54"/>
                </a:cxn>
                <a:cxn ang="0">
                  <a:pos x="51" y="15"/>
                </a:cxn>
                <a:cxn ang="0">
                  <a:pos x="60" y="15"/>
                </a:cxn>
                <a:cxn ang="0">
                  <a:pos x="46" y="58"/>
                </a:cxn>
                <a:cxn ang="0">
                  <a:pos x="74" y="22"/>
                </a:cxn>
                <a:cxn ang="0">
                  <a:pos x="70" y="48"/>
                </a:cxn>
                <a:cxn ang="0">
                  <a:pos x="74" y="22"/>
                </a:cxn>
                <a:cxn ang="0">
                  <a:pos x="65" y="46"/>
                </a:cxn>
                <a:cxn ang="0">
                  <a:pos x="79" y="24"/>
                </a:cxn>
                <a:cxn ang="0">
                  <a:pos x="91" y="51"/>
                </a:cxn>
                <a:cxn ang="0">
                  <a:pos x="91" y="19"/>
                </a:cxn>
                <a:cxn ang="0">
                  <a:pos x="98" y="56"/>
                </a:cxn>
                <a:cxn ang="0">
                  <a:pos x="89" y="56"/>
                </a:cxn>
                <a:cxn ang="0">
                  <a:pos x="89" y="15"/>
                </a:cxn>
                <a:cxn ang="0">
                  <a:pos x="98" y="0"/>
                </a:cxn>
                <a:cxn ang="0">
                  <a:pos x="110" y="38"/>
                </a:cxn>
                <a:cxn ang="0">
                  <a:pos x="107" y="48"/>
                </a:cxn>
                <a:cxn ang="0">
                  <a:pos x="112" y="37"/>
                </a:cxn>
                <a:cxn ang="0">
                  <a:pos x="110" y="33"/>
                </a:cxn>
                <a:cxn ang="0">
                  <a:pos x="110" y="19"/>
                </a:cxn>
                <a:cxn ang="0">
                  <a:pos x="103" y="30"/>
                </a:cxn>
                <a:cxn ang="0">
                  <a:pos x="117" y="24"/>
                </a:cxn>
                <a:cxn ang="0">
                  <a:pos x="112" y="54"/>
                </a:cxn>
                <a:cxn ang="0">
                  <a:pos x="102" y="43"/>
                </a:cxn>
                <a:cxn ang="0">
                  <a:pos x="130" y="20"/>
                </a:cxn>
                <a:cxn ang="0">
                  <a:pos x="126" y="56"/>
                </a:cxn>
                <a:cxn ang="0">
                  <a:pos x="126" y="15"/>
                </a:cxn>
                <a:cxn ang="0">
                  <a:pos x="141" y="38"/>
                </a:cxn>
                <a:cxn ang="0">
                  <a:pos x="138" y="48"/>
                </a:cxn>
                <a:cxn ang="0">
                  <a:pos x="143" y="37"/>
                </a:cxn>
                <a:cxn ang="0">
                  <a:pos x="141" y="33"/>
                </a:cxn>
                <a:cxn ang="0">
                  <a:pos x="141" y="19"/>
                </a:cxn>
                <a:cxn ang="0">
                  <a:pos x="134" y="30"/>
                </a:cxn>
                <a:cxn ang="0">
                  <a:pos x="148" y="24"/>
                </a:cxn>
                <a:cxn ang="0">
                  <a:pos x="143" y="54"/>
                </a:cxn>
                <a:cxn ang="0">
                  <a:pos x="133" y="43"/>
                </a:cxn>
                <a:cxn ang="0">
                  <a:pos x="167" y="22"/>
                </a:cxn>
                <a:cxn ang="0">
                  <a:pos x="162" y="22"/>
                </a:cxn>
                <a:cxn ang="0">
                  <a:pos x="157" y="56"/>
                </a:cxn>
                <a:cxn ang="0">
                  <a:pos x="157" y="15"/>
                </a:cxn>
                <a:cxn ang="0">
                  <a:pos x="166" y="17"/>
                </a:cxn>
                <a:cxn ang="0">
                  <a:pos x="176" y="56"/>
                </a:cxn>
              </a:cxnLst>
              <a:rect l="0" t="0" r="r" b="b"/>
              <a:pathLst>
                <a:path w="176" h="6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lnTo>
                    <a:pt x="10" y="22"/>
                  </a:lnTo>
                  <a:close/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7" y="15"/>
                    <a:pt x="8" y="15"/>
                  </a:cubicBezTo>
                  <a:cubicBezTo>
                    <a:pt x="12" y="15"/>
                    <a:pt x="15" y="17"/>
                    <a:pt x="15" y="24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52"/>
                    <a:pt x="12" y="56"/>
                    <a:pt x="8" y="56"/>
                  </a:cubicBezTo>
                  <a:cubicBezTo>
                    <a:pt x="6" y="56"/>
                    <a:pt x="4" y="54"/>
                    <a:pt x="3" y="52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18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18" y="56"/>
                    <a:pt x="18" y="56"/>
                    <a:pt x="18" y="56"/>
                  </a:cubicBezTo>
                  <a:lnTo>
                    <a:pt x="18" y="0"/>
                  </a:lnTo>
                  <a:close/>
                  <a:moveTo>
                    <a:pt x="37" y="37"/>
                  </a:moveTo>
                  <a:cubicBezTo>
                    <a:pt x="36" y="38"/>
                    <a:pt x="35" y="38"/>
                    <a:pt x="35" y="38"/>
                  </a:cubicBezTo>
                  <a:cubicBezTo>
                    <a:pt x="34" y="39"/>
                    <a:pt x="34" y="39"/>
                    <a:pt x="33" y="39"/>
                  </a:cubicBezTo>
                  <a:cubicBezTo>
                    <a:pt x="32" y="40"/>
                    <a:pt x="32" y="42"/>
                    <a:pt x="32" y="43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50"/>
                    <a:pt x="33" y="51"/>
                    <a:pt x="34" y="51"/>
                  </a:cubicBezTo>
                  <a:cubicBezTo>
                    <a:pt x="35" y="51"/>
                    <a:pt x="37" y="50"/>
                    <a:pt x="37" y="48"/>
                  </a:cubicBezTo>
                  <a:cubicBezTo>
                    <a:pt x="37" y="37"/>
                    <a:pt x="37" y="37"/>
                    <a:pt x="37" y="37"/>
                  </a:cubicBezTo>
                  <a:close/>
                  <a:moveTo>
                    <a:pt x="27" y="43"/>
                  </a:moveTo>
                  <a:cubicBezTo>
                    <a:pt x="27" y="39"/>
                    <a:pt x="28" y="37"/>
                    <a:pt x="30" y="35"/>
                  </a:cubicBezTo>
                  <a:cubicBezTo>
                    <a:pt x="32" y="34"/>
                    <a:pt x="33" y="34"/>
                    <a:pt x="34" y="33"/>
                  </a:cubicBezTo>
                  <a:cubicBezTo>
                    <a:pt x="35" y="32"/>
                    <a:pt x="36" y="31"/>
                    <a:pt x="37" y="31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0"/>
                    <a:pt x="36" y="19"/>
                    <a:pt x="34" y="19"/>
                  </a:cubicBezTo>
                  <a:cubicBezTo>
                    <a:pt x="33" y="19"/>
                    <a:pt x="32" y="20"/>
                    <a:pt x="32" y="22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0" y="15"/>
                    <a:pt x="34" y="15"/>
                  </a:cubicBezTo>
                  <a:cubicBezTo>
                    <a:pt x="39" y="15"/>
                    <a:pt x="41" y="17"/>
                    <a:pt x="41" y="24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6" y="55"/>
                    <a:pt x="34" y="56"/>
                    <a:pt x="33" y="56"/>
                  </a:cubicBezTo>
                  <a:cubicBezTo>
                    <a:pt x="29" y="56"/>
                    <a:pt x="27" y="52"/>
                    <a:pt x="27" y="46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51" y="47"/>
                  </a:moveTo>
                  <a:cubicBezTo>
                    <a:pt x="51" y="49"/>
                    <a:pt x="51" y="49"/>
                    <a:pt x="53" y="49"/>
                  </a:cubicBezTo>
                  <a:cubicBezTo>
                    <a:pt x="55" y="49"/>
                    <a:pt x="55" y="49"/>
                    <a:pt x="56" y="47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0"/>
                    <a:pt x="55" y="19"/>
                    <a:pt x="53" y="19"/>
                  </a:cubicBezTo>
                  <a:cubicBezTo>
                    <a:pt x="51" y="19"/>
                    <a:pt x="51" y="20"/>
                    <a:pt x="51" y="22"/>
                  </a:cubicBezTo>
                  <a:lnTo>
                    <a:pt x="51" y="47"/>
                  </a:lnTo>
                  <a:close/>
                  <a:moveTo>
                    <a:pt x="53" y="61"/>
                  </a:moveTo>
                  <a:cubicBezTo>
                    <a:pt x="55" y="61"/>
                    <a:pt x="56" y="60"/>
                    <a:pt x="56" y="58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5" y="54"/>
                    <a:pt x="53" y="54"/>
                    <a:pt x="51" y="54"/>
                  </a:cubicBezTo>
                  <a:cubicBezTo>
                    <a:pt x="48" y="54"/>
                    <a:pt x="46" y="51"/>
                    <a:pt x="46" y="4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17"/>
                    <a:pt x="48" y="15"/>
                    <a:pt x="51" y="15"/>
                  </a:cubicBezTo>
                  <a:cubicBezTo>
                    <a:pt x="53" y="15"/>
                    <a:pt x="54" y="15"/>
                    <a:pt x="56" y="1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2"/>
                    <a:pt x="58" y="65"/>
                    <a:pt x="53" y="65"/>
                  </a:cubicBezTo>
                  <a:cubicBezTo>
                    <a:pt x="48" y="65"/>
                    <a:pt x="46" y="63"/>
                    <a:pt x="46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60"/>
                    <a:pt x="51" y="61"/>
                    <a:pt x="53" y="61"/>
                  </a:cubicBezTo>
                  <a:close/>
                  <a:moveTo>
                    <a:pt x="74" y="22"/>
                  </a:moveTo>
                  <a:cubicBezTo>
                    <a:pt x="74" y="20"/>
                    <a:pt x="74" y="19"/>
                    <a:pt x="72" y="19"/>
                  </a:cubicBezTo>
                  <a:cubicBezTo>
                    <a:pt x="70" y="19"/>
                    <a:pt x="70" y="20"/>
                    <a:pt x="70" y="22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50"/>
                    <a:pt x="70" y="51"/>
                    <a:pt x="72" y="51"/>
                  </a:cubicBezTo>
                  <a:cubicBezTo>
                    <a:pt x="74" y="51"/>
                    <a:pt x="74" y="50"/>
                    <a:pt x="74" y="48"/>
                  </a:cubicBezTo>
                  <a:lnTo>
                    <a:pt x="74" y="22"/>
                  </a:lnTo>
                  <a:close/>
                  <a:moveTo>
                    <a:pt x="79" y="46"/>
                  </a:moveTo>
                  <a:cubicBezTo>
                    <a:pt x="79" y="52"/>
                    <a:pt x="76" y="56"/>
                    <a:pt x="72" y="56"/>
                  </a:cubicBezTo>
                  <a:cubicBezTo>
                    <a:pt x="67" y="56"/>
                    <a:pt x="65" y="52"/>
                    <a:pt x="65" y="46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17"/>
                    <a:pt x="67" y="15"/>
                    <a:pt x="72" y="15"/>
                  </a:cubicBezTo>
                  <a:cubicBezTo>
                    <a:pt x="76" y="15"/>
                    <a:pt x="79" y="17"/>
                    <a:pt x="79" y="24"/>
                  </a:cubicBezTo>
                  <a:lnTo>
                    <a:pt x="79" y="46"/>
                  </a:lnTo>
                  <a:close/>
                  <a:moveTo>
                    <a:pt x="88" y="48"/>
                  </a:moveTo>
                  <a:cubicBezTo>
                    <a:pt x="88" y="50"/>
                    <a:pt x="89" y="51"/>
                    <a:pt x="91" y="51"/>
                  </a:cubicBezTo>
                  <a:cubicBezTo>
                    <a:pt x="92" y="51"/>
                    <a:pt x="93" y="50"/>
                    <a:pt x="93" y="48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93" y="20"/>
                    <a:pt x="92" y="19"/>
                    <a:pt x="91" y="19"/>
                  </a:cubicBezTo>
                  <a:cubicBezTo>
                    <a:pt x="89" y="19"/>
                    <a:pt x="88" y="20"/>
                    <a:pt x="88" y="22"/>
                  </a:cubicBezTo>
                  <a:lnTo>
                    <a:pt x="88" y="48"/>
                  </a:lnTo>
                  <a:close/>
                  <a:moveTo>
                    <a:pt x="98" y="56"/>
                  </a:moveTo>
                  <a:cubicBezTo>
                    <a:pt x="93" y="56"/>
                    <a:pt x="93" y="56"/>
                    <a:pt x="93" y="56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2" y="55"/>
                    <a:pt x="91" y="56"/>
                    <a:pt x="89" y="56"/>
                  </a:cubicBezTo>
                  <a:cubicBezTo>
                    <a:pt x="85" y="56"/>
                    <a:pt x="84" y="52"/>
                    <a:pt x="84" y="46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7"/>
                    <a:pt x="85" y="15"/>
                    <a:pt x="89" y="15"/>
                  </a:cubicBezTo>
                  <a:cubicBezTo>
                    <a:pt x="91" y="15"/>
                    <a:pt x="93" y="15"/>
                    <a:pt x="93" y="16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8" y="0"/>
                    <a:pt x="98" y="0"/>
                    <a:pt x="98" y="0"/>
                  </a:cubicBezTo>
                  <a:lnTo>
                    <a:pt x="98" y="56"/>
                  </a:lnTo>
                  <a:close/>
                  <a:moveTo>
                    <a:pt x="112" y="37"/>
                  </a:moveTo>
                  <a:cubicBezTo>
                    <a:pt x="111" y="38"/>
                    <a:pt x="111" y="38"/>
                    <a:pt x="110" y="38"/>
                  </a:cubicBezTo>
                  <a:cubicBezTo>
                    <a:pt x="110" y="39"/>
                    <a:pt x="109" y="39"/>
                    <a:pt x="108" y="39"/>
                  </a:cubicBezTo>
                  <a:cubicBezTo>
                    <a:pt x="108" y="40"/>
                    <a:pt x="107" y="42"/>
                    <a:pt x="107" y="43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107" y="50"/>
                    <a:pt x="108" y="51"/>
                    <a:pt x="110" y="51"/>
                  </a:cubicBezTo>
                  <a:cubicBezTo>
                    <a:pt x="111" y="51"/>
                    <a:pt x="112" y="50"/>
                    <a:pt x="112" y="48"/>
                  </a:cubicBezTo>
                  <a:lnTo>
                    <a:pt x="112" y="37"/>
                  </a:lnTo>
                  <a:close/>
                  <a:moveTo>
                    <a:pt x="102" y="43"/>
                  </a:moveTo>
                  <a:cubicBezTo>
                    <a:pt x="102" y="39"/>
                    <a:pt x="103" y="37"/>
                    <a:pt x="106" y="35"/>
                  </a:cubicBezTo>
                  <a:cubicBezTo>
                    <a:pt x="107" y="34"/>
                    <a:pt x="108" y="34"/>
                    <a:pt x="110" y="33"/>
                  </a:cubicBezTo>
                  <a:cubicBezTo>
                    <a:pt x="111" y="32"/>
                    <a:pt x="111" y="31"/>
                    <a:pt x="112" y="31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0"/>
                    <a:pt x="111" y="19"/>
                    <a:pt x="110" y="19"/>
                  </a:cubicBezTo>
                  <a:cubicBezTo>
                    <a:pt x="108" y="19"/>
                    <a:pt x="108" y="20"/>
                    <a:pt x="108" y="22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3" y="17"/>
                    <a:pt x="105" y="15"/>
                    <a:pt x="110" y="15"/>
                  </a:cubicBezTo>
                  <a:cubicBezTo>
                    <a:pt x="115" y="15"/>
                    <a:pt x="117" y="17"/>
                    <a:pt x="117" y="24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4"/>
                    <a:pt x="112" y="54"/>
                    <a:pt x="112" y="54"/>
                  </a:cubicBezTo>
                  <a:cubicBezTo>
                    <a:pt x="111" y="55"/>
                    <a:pt x="110" y="56"/>
                    <a:pt x="108" y="56"/>
                  </a:cubicBezTo>
                  <a:cubicBezTo>
                    <a:pt x="105" y="56"/>
                    <a:pt x="102" y="52"/>
                    <a:pt x="102" y="46"/>
                  </a:cubicBezTo>
                  <a:cubicBezTo>
                    <a:pt x="102" y="43"/>
                    <a:pt x="102" y="43"/>
                    <a:pt x="102" y="43"/>
                  </a:cubicBezTo>
                  <a:close/>
                  <a:moveTo>
                    <a:pt x="126" y="16"/>
                  </a:moveTo>
                  <a:cubicBezTo>
                    <a:pt x="126" y="15"/>
                    <a:pt x="128" y="15"/>
                    <a:pt x="130" y="15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30" y="20"/>
                    <a:pt x="129" y="19"/>
                    <a:pt x="129" y="19"/>
                  </a:cubicBezTo>
                  <a:cubicBezTo>
                    <a:pt x="127" y="19"/>
                    <a:pt x="126" y="20"/>
                    <a:pt x="126" y="22"/>
                  </a:cubicBezTo>
                  <a:cubicBezTo>
                    <a:pt x="126" y="56"/>
                    <a:pt x="126" y="56"/>
                    <a:pt x="126" y="56"/>
                  </a:cubicBezTo>
                  <a:cubicBezTo>
                    <a:pt x="121" y="56"/>
                    <a:pt x="121" y="56"/>
                    <a:pt x="121" y="56"/>
                  </a:cubicBezTo>
                  <a:cubicBezTo>
                    <a:pt x="121" y="15"/>
                    <a:pt x="121" y="15"/>
                    <a:pt x="121" y="15"/>
                  </a:cubicBezTo>
                  <a:cubicBezTo>
                    <a:pt x="126" y="15"/>
                    <a:pt x="126" y="15"/>
                    <a:pt x="126" y="15"/>
                  </a:cubicBezTo>
                  <a:lnTo>
                    <a:pt x="126" y="16"/>
                  </a:lnTo>
                  <a:close/>
                  <a:moveTo>
                    <a:pt x="143" y="37"/>
                  </a:moveTo>
                  <a:cubicBezTo>
                    <a:pt x="142" y="38"/>
                    <a:pt x="142" y="38"/>
                    <a:pt x="141" y="38"/>
                  </a:cubicBezTo>
                  <a:cubicBezTo>
                    <a:pt x="141" y="39"/>
                    <a:pt x="140" y="39"/>
                    <a:pt x="139" y="39"/>
                  </a:cubicBezTo>
                  <a:cubicBezTo>
                    <a:pt x="139" y="40"/>
                    <a:pt x="138" y="42"/>
                    <a:pt x="138" y="43"/>
                  </a:cubicBezTo>
                  <a:cubicBezTo>
                    <a:pt x="138" y="48"/>
                    <a:pt x="138" y="48"/>
                    <a:pt x="138" y="48"/>
                  </a:cubicBezTo>
                  <a:cubicBezTo>
                    <a:pt x="138" y="50"/>
                    <a:pt x="139" y="51"/>
                    <a:pt x="141" y="51"/>
                  </a:cubicBezTo>
                  <a:cubicBezTo>
                    <a:pt x="142" y="51"/>
                    <a:pt x="143" y="50"/>
                    <a:pt x="143" y="48"/>
                  </a:cubicBezTo>
                  <a:cubicBezTo>
                    <a:pt x="143" y="37"/>
                    <a:pt x="143" y="37"/>
                    <a:pt x="143" y="37"/>
                  </a:cubicBezTo>
                  <a:close/>
                  <a:moveTo>
                    <a:pt x="133" y="43"/>
                  </a:moveTo>
                  <a:cubicBezTo>
                    <a:pt x="133" y="39"/>
                    <a:pt x="134" y="37"/>
                    <a:pt x="137" y="35"/>
                  </a:cubicBezTo>
                  <a:cubicBezTo>
                    <a:pt x="138" y="34"/>
                    <a:pt x="139" y="34"/>
                    <a:pt x="141" y="33"/>
                  </a:cubicBezTo>
                  <a:cubicBezTo>
                    <a:pt x="142" y="32"/>
                    <a:pt x="142" y="31"/>
                    <a:pt x="143" y="31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3" y="20"/>
                    <a:pt x="142" y="19"/>
                    <a:pt x="141" y="19"/>
                  </a:cubicBezTo>
                  <a:cubicBezTo>
                    <a:pt x="139" y="19"/>
                    <a:pt x="139" y="20"/>
                    <a:pt x="139" y="22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17"/>
                    <a:pt x="136" y="15"/>
                    <a:pt x="141" y="15"/>
                  </a:cubicBezTo>
                  <a:cubicBezTo>
                    <a:pt x="146" y="15"/>
                    <a:pt x="148" y="17"/>
                    <a:pt x="148" y="24"/>
                  </a:cubicBezTo>
                  <a:cubicBezTo>
                    <a:pt x="148" y="56"/>
                    <a:pt x="148" y="56"/>
                    <a:pt x="148" y="56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3" y="54"/>
                    <a:pt x="143" y="54"/>
                    <a:pt x="143" y="54"/>
                  </a:cubicBezTo>
                  <a:cubicBezTo>
                    <a:pt x="142" y="55"/>
                    <a:pt x="141" y="56"/>
                    <a:pt x="139" y="56"/>
                  </a:cubicBezTo>
                  <a:cubicBezTo>
                    <a:pt x="135" y="56"/>
                    <a:pt x="133" y="52"/>
                    <a:pt x="133" y="46"/>
                  </a:cubicBezTo>
                  <a:cubicBezTo>
                    <a:pt x="133" y="43"/>
                    <a:pt x="133" y="43"/>
                    <a:pt x="133" y="43"/>
                  </a:cubicBezTo>
                  <a:close/>
                  <a:moveTo>
                    <a:pt x="171" y="22"/>
                  </a:moveTo>
                  <a:cubicBezTo>
                    <a:pt x="171" y="20"/>
                    <a:pt x="171" y="19"/>
                    <a:pt x="169" y="19"/>
                  </a:cubicBezTo>
                  <a:cubicBezTo>
                    <a:pt x="167" y="19"/>
                    <a:pt x="167" y="20"/>
                    <a:pt x="167" y="22"/>
                  </a:cubicBezTo>
                  <a:cubicBezTo>
                    <a:pt x="167" y="56"/>
                    <a:pt x="167" y="56"/>
                    <a:pt x="167" y="56"/>
                  </a:cubicBezTo>
                  <a:cubicBezTo>
                    <a:pt x="162" y="56"/>
                    <a:pt x="162" y="56"/>
                    <a:pt x="162" y="56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0"/>
                    <a:pt x="161" y="19"/>
                    <a:pt x="160" y="19"/>
                  </a:cubicBezTo>
                  <a:cubicBezTo>
                    <a:pt x="158" y="19"/>
                    <a:pt x="157" y="20"/>
                    <a:pt x="157" y="22"/>
                  </a:cubicBezTo>
                  <a:cubicBezTo>
                    <a:pt x="157" y="56"/>
                    <a:pt x="157" y="56"/>
                    <a:pt x="157" y="5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5"/>
                    <a:pt x="159" y="15"/>
                    <a:pt x="161" y="15"/>
                  </a:cubicBezTo>
                  <a:cubicBezTo>
                    <a:pt x="163" y="15"/>
                    <a:pt x="165" y="15"/>
                    <a:pt x="166" y="17"/>
                  </a:cubicBezTo>
                  <a:cubicBezTo>
                    <a:pt x="166" y="15"/>
                    <a:pt x="168" y="15"/>
                    <a:pt x="170" y="15"/>
                  </a:cubicBezTo>
                  <a:cubicBezTo>
                    <a:pt x="174" y="15"/>
                    <a:pt x="176" y="17"/>
                    <a:pt x="176" y="24"/>
                  </a:cubicBezTo>
                  <a:cubicBezTo>
                    <a:pt x="176" y="56"/>
                    <a:pt x="176" y="56"/>
                    <a:pt x="176" y="56"/>
                  </a:cubicBezTo>
                  <a:cubicBezTo>
                    <a:pt x="171" y="56"/>
                    <a:pt x="171" y="56"/>
                    <a:pt x="171" y="56"/>
                  </a:cubicBezTo>
                  <a:cubicBezTo>
                    <a:pt x="171" y="22"/>
                    <a:pt x="171" y="22"/>
                    <a:pt x="17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6057902" y="2842431"/>
              <a:ext cx="479425" cy="140494"/>
            </a:xfrm>
            <a:custGeom>
              <a:avLst/>
              <a:gdLst/>
              <a:ahLst/>
              <a:cxnLst>
                <a:cxn ang="0">
                  <a:pos x="9" y="48"/>
                </a:cxn>
                <a:cxn ang="0">
                  <a:pos x="5" y="22"/>
                </a:cxn>
                <a:cxn ang="0">
                  <a:pos x="9" y="55"/>
                </a:cxn>
                <a:cxn ang="0">
                  <a:pos x="0" y="46"/>
                </a:cxn>
                <a:cxn ang="0">
                  <a:pos x="9" y="16"/>
                </a:cxn>
                <a:cxn ang="0">
                  <a:pos x="14" y="55"/>
                </a:cxn>
                <a:cxn ang="0">
                  <a:pos x="19" y="0"/>
                </a:cxn>
                <a:cxn ang="0">
                  <a:pos x="15" y="61"/>
                </a:cxn>
                <a:cxn ang="0">
                  <a:pos x="24" y="14"/>
                </a:cxn>
                <a:cxn ang="0">
                  <a:pos x="15" y="61"/>
                </a:cxn>
                <a:cxn ang="0">
                  <a:pos x="28" y="0"/>
                </a:cxn>
                <a:cxn ang="0">
                  <a:pos x="33" y="55"/>
                </a:cxn>
                <a:cxn ang="0">
                  <a:pos x="33" y="14"/>
                </a:cxn>
                <a:cxn ang="0">
                  <a:pos x="47" y="31"/>
                </a:cxn>
                <a:cxn ang="0">
                  <a:pos x="42" y="22"/>
                </a:cxn>
                <a:cxn ang="0">
                  <a:pos x="45" y="50"/>
                </a:cxn>
                <a:cxn ang="0">
                  <a:pos x="52" y="40"/>
                </a:cxn>
                <a:cxn ang="0">
                  <a:pos x="37" y="46"/>
                </a:cxn>
                <a:cxn ang="0">
                  <a:pos x="52" y="24"/>
                </a:cxn>
                <a:cxn ang="0">
                  <a:pos x="42" y="48"/>
                </a:cxn>
                <a:cxn ang="0">
                  <a:pos x="65" y="21"/>
                </a:cxn>
                <a:cxn ang="0">
                  <a:pos x="61" y="55"/>
                </a:cxn>
                <a:cxn ang="0">
                  <a:pos x="61" y="14"/>
                </a:cxn>
                <a:cxn ang="0">
                  <a:pos x="78" y="31"/>
                </a:cxn>
                <a:cxn ang="0">
                  <a:pos x="73" y="22"/>
                </a:cxn>
                <a:cxn ang="0">
                  <a:pos x="75" y="50"/>
                </a:cxn>
                <a:cxn ang="0">
                  <a:pos x="83" y="40"/>
                </a:cxn>
                <a:cxn ang="0">
                  <a:pos x="69" y="46"/>
                </a:cxn>
                <a:cxn ang="0">
                  <a:pos x="83" y="24"/>
                </a:cxn>
                <a:cxn ang="0">
                  <a:pos x="73" y="48"/>
                </a:cxn>
                <a:cxn ang="0">
                  <a:pos x="106" y="48"/>
                </a:cxn>
                <a:cxn ang="0">
                  <a:pos x="101" y="22"/>
                </a:cxn>
                <a:cxn ang="0">
                  <a:pos x="106" y="55"/>
                </a:cxn>
                <a:cxn ang="0">
                  <a:pos x="96" y="46"/>
                </a:cxn>
                <a:cxn ang="0">
                  <a:pos x="106" y="16"/>
                </a:cxn>
                <a:cxn ang="0">
                  <a:pos x="110" y="55"/>
                </a:cxn>
                <a:cxn ang="0">
                  <a:pos x="115" y="0"/>
                </a:cxn>
                <a:cxn ang="0">
                  <a:pos x="120" y="55"/>
                </a:cxn>
                <a:cxn ang="0">
                  <a:pos x="120" y="14"/>
                </a:cxn>
                <a:cxn ang="0">
                  <a:pos x="134" y="31"/>
                </a:cxn>
                <a:cxn ang="0">
                  <a:pos x="129" y="22"/>
                </a:cxn>
                <a:cxn ang="0">
                  <a:pos x="131" y="50"/>
                </a:cxn>
                <a:cxn ang="0">
                  <a:pos x="138" y="40"/>
                </a:cxn>
                <a:cxn ang="0">
                  <a:pos x="124" y="46"/>
                </a:cxn>
                <a:cxn ang="0">
                  <a:pos x="138" y="24"/>
                </a:cxn>
                <a:cxn ang="0">
                  <a:pos x="129" y="48"/>
                </a:cxn>
                <a:cxn ang="0">
                  <a:pos x="152" y="48"/>
                </a:cxn>
                <a:cxn ang="0">
                  <a:pos x="158" y="55"/>
                </a:cxn>
                <a:cxn ang="0">
                  <a:pos x="149" y="55"/>
                </a:cxn>
                <a:cxn ang="0">
                  <a:pos x="148" y="14"/>
                </a:cxn>
                <a:cxn ang="0">
                  <a:pos x="161" y="14"/>
                </a:cxn>
                <a:cxn ang="0">
                  <a:pos x="169" y="5"/>
                </a:cxn>
                <a:cxn ang="0">
                  <a:pos x="168" y="14"/>
                </a:cxn>
                <a:cxn ang="0">
                  <a:pos x="166" y="55"/>
                </a:cxn>
                <a:cxn ang="0">
                  <a:pos x="160" y="20"/>
                </a:cxn>
              </a:cxnLst>
              <a:rect l="0" t="0" r="r" b="b"/>
              <a:pathLst>
                <a:path w="169" h="66">
                  <a:moveTo>
                    <a:pt x="5" y="48"/>
                  </a:moveTo>
                  <a:cubicBezTo>
                    <a:pt x="5" y="50"/>
                    <a:pt x="5" y="50"/>
                    <a:pt x="7" y="50"/>
                  </a:cubicBezTo>
                  <a:cubicBezTo>
                    <a:pt x="9" y="50"/>
                    <a:pt x="9" y="50"/>
                    <a:pt x="9" y="4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20"/>
                    <a:pt x="7" y="20"/>
                  </a:cubicBezTo>
                  <a:cubicBezTo>
                    <a:pt x="5" y="20"/>
                    <a:pt x="5" y="20"/>
                    <a:pt x="5" y="22"/>
                  </a:cubicBezTo>
                  <a:lnTo>
                    <a:pt x="5" y="48"/>
                  </a:lnTo>
                  <a:close/>
                  <a:moveTo>
                    <a:pt x="14" y="55"/>
                  </a:moveTo>
                  <a:cubicBezTo>
                    <a:pt x="9" y="55"/>
                    <a:pt x="9" y="55"/>
                    <a:pt x="9" y="55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8" y="55"/>
                    <a:pt x="6" y="55"/>
                    <a:pt x="5" y="55"/>
                  </a:cubicBezTo>
                  <a:cubicBezTo>
                    <a:pt x="1" y="55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4"/>
                    <a:pt x="5" y="14"/>
                  </a:cubicBezTo>
                  <a:cubicBezTo>
                    <a:pt x="7" y="14"/>
                    <a:pt x="9" y="15"/>
                    <a:pt x="9" y="1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5"/>
                  </a:lnTo>
                  <a:close/>
                  <a:moveTo>
                    <a:pt x="24" y="8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8"/>
                  </a:lnTo>
                  <a:close/>
                  <a:moveTo>
                    <a:pt x="15" y="61"/>
                  </a:moveTo>
                  <a:cubicBezTo>
                    <a:pt x="18" y="61"/>
                    <a:pt x="19" y="59"/>
                    <a:pt x="19" y="57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62"/>
                    <a:pt x="21" y="66"/>
                    <a:pt x="15" y="66"/>
                  </a:cubicBezTo>
                  <a:cubicBezTo>
                    <a:pt x="15" y="61"/>
                    <a:pt x="15" y="61"/>
                    <a:pt x="15" y="61"/>
                  </a:cubicBezTo>
                  <a:close/>
                  <a:moveTo>
                    <a:pt x="33" y="8"/>
                  </a:moveTo>
                  <a:cubicBezTo>
                    <a:pt x="28" y="8"/>
                    <a:pt x="28" y="8"/>
                    <a:pt x="28" y="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8"/>
                  </a:lnTo>
                  <a:close/>
                  <a:moveTo>
                    <a:pt x="33" y="55"/>
                  </a:moveTo>
                  <a:cubicBezTo>
                    <a:pt x="28" y="55"/>
                    <a:pt x="28" y="55"/>
                    <a:pt x="28" y="55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5"/>
                  </a:lnTo>
                  <a:close/>
                  <a:moveTo>
                    <a:pt x="42" y="31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0"/>
                    <a:pt x="46" y="20"/>
                    <a:pt x="45" y="20"/>
                  </a:cubicBezTo>
                  <a:cubicBezTo>
                    <a:pt x="43" y="20"/>
                    <a:pt x="42" y="20"/>
                    <a:pt x="42" y="22"/>
                  </a:cubicBezTo>
                  <a:lnTo>
                    <a:pt x="42" y="31"/>
                  </a:lnTo>
                  <a:close/>
                  <a:moveTo>
                    <a:pt x="42" y="48"/>
                  </a:moveTo>
                  <a:cubicBezTo>
                    <a:pt x="42" y="50"/>
                    <a:pt x="43" y="50"/>
                    <a:pt x="45" y="50"/>
                  </a:cubicBezTo>
                  <a:cubicBezTo>
                    <a:pt x="46" y="50"/>
                    <a:pt x="47" y="50"/>
                    <a:pt x="47" y="48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52"/>
                    <a:pt x="50" y="55"/>
                    <a:pt x="45" y="55"/>
                  </a:cubicBezTo>
                  <a:cubicBezTo>
                    <a:pt x="40" y="55"/>
                    <a:pt x="37" y="52"/>
                    <a:pt x="37" y="46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18"/>
                    <a:pt x="40" y="14"/>
                    <a:pt x="45" y="14"/>
                  </a:cubicBezTo>
                  <a:cubicBezTo>
                    <a:pt x="50" y="14"/>
                    <a:pt x="52" y="18"/>
                    <a:pt x="52" y="24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42" y="36"/>
                    <a:pt x="42" y="36"/>
                    <a:pt x="42" y="36"/>
                  </a:cubicBezTo>
                  <a:lnTo>
                    <a:pt x="42" y="48"/>
                  </a:lnTo>
                  <a:close/>
                  <a:moveTo>
                    <a:pt x="61" y="16"/>
                  </a:moveTo>
                  <a:cubicBezTo>
                    <a:pt x="62" y="15"/>
                    <a:pt x="63" y="14"/>
                    <a:pt x="65" y="14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0"/>
                    <a:pt x="64" y="20"/>
                    <a:pt x="64" y="20"/>
                  </a:cubicBezTo>
                  <a:cubicBezTo>
                    <a:pt x="62" y="20"/>
                    <a:pt x="61" y="20"/>
                    <a:pt x="61" y="22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1" y="16"/>
                    <a:pt x="61" y="16"/>
                    <a:pt x="61" y="16"/>
                  </a:cubicBezTo>
                  <a:close/>
                  <a:moveTo>
                    <a:pt x="73" y="31"/>
                  </a:moveTo>
                  <a:cubicBezTo>
                    <a:pt x="78" y="31"/>
                    <a:pt x="78" y="31"/>
                    <a:pt x="78" y="31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0"/>
                    <a:pt x="77" y="20"/>
                    <a:pt x="75" y="20"/>
                  </a:cubicBezTo>
                  <a:cubicBezTo>
                    <a:pt x="74" y="20"/>
                    <a:pt x="73" y="20"/>
                    <a:pt x="73" y="22"/>
                  </a:cubicBezTo>
                  <a:lnTo>
                    <a:pt x="73" y="31"/>
                  </a:lnTo>
                  <a:close/>
                  <a:moveTo>
                    <a:pt x="73" y="48"/>
                  </a:moveTo>
                  <a:cubicBezTo>
                    <a:pt x="73" y="50"/>
                    <a:pt x="74" y="50"/>
                    <a:pt x="75" y="50"/>
                  </a:cubicBezTo>
                  <a:cubicBezTo>
                    <a:pt x="77" y="50"/>
                    <a:pt x="78" y="50"/>
                    <a:pt x="78" y="48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52"/>
                    <a:pt x="81" y="55"/>
                    <a:pt x="75" y="55"/>
                  </a:cubicBezTo>
                  <a:cubicBezTo>
                    <a:pt x="71" y="55"/>
                    <a:pt x="69" y="52"/>
                    <a:pt x="69" y="46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8"/>
                    <a:pt x="71" y="14"/>
                    <a:pt x="75" y="14"/>
                  </a:cubicBezTo>
                  <a:cubicBezTo>
                    <a:pt x="81" y="14"/>
                    <a:pt x="83" y="18"/>
                    <a:pt x="83" y="24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73" y="36"/>
                    <a:pt x="73" y="36"/>
                    <a:pt x="73" y="36"/>
                  </a:cubicBezTo>
                  <a:lnTo>
                    <a:pt x="73" y="48"/>
                  </a:lnTo>
                  <a:close/>
                  <a:moveTo>
                    <a:pt x="101" y="48"/>
                  </a:moveTo>
                  <a:cubicBezTo>
                    <a:pt x="101" y="50"/>
                    <a:pt x="101" y="50"/>
                    <a:pt x="103" y="50"/>
                  </a:cubicBezTo>
                  <a:cubicBezTo>
                    <a:pt x="105" y="50"/>
                    <a:pt x="106" y="50"/>
                    <a:pt x="106" y="48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106" y="20"/>
                    <a:pt x="105" y="20"/>
                    <a:pt x="103" y="20"/>
                  </a:cubicBezTo>
                  <a:cubicBezTo>
                    <a:pt x="101" y="20"/>
                    <a:pt x="101" y="20"/>
                    <a:pt x="101" y="22"/>
                  </a:cubicBezTo>
                  <a:lnTo>
                    <a:pt x="101" y="48"/>
                  </a:lnTo>
                  <a:close/>
                  <a:moveTo>
                    <a:pt x="110" y="55"/>
                  </a:moveTo>
                  <a:cubicBezTo>
                    <a:pt x="106" y="55"/>
                    <a:pt x="106" y="55"/>
                    <a:pt x="106" y="55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4" y="55"/>
                    <a:pt x="103" y="55"/>
                    <a:pt x="101" y="55"/>
                  </a:cubicBezTo>
                  <a:cubicBezTo>
                    <a:pt x="98" y="55"/>
                    <a:pt x="96" y="52"/>
                    <a:pt x="96" y="46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18"/>
                    <a:pt x="98" y="14"/>
                    <a:pt x="101" y="14"/>
                  </a:cubicBezTo>
                  <a:cubicBezTo>
                    <a:pt x="104" y="14"/>
                    <a:pt x="105" y="15"/>
                    <a:pt x="106" y="16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110" y="55"/>
                  </a:lnTo>
                  <a:close/>
                  <a:moveTo>
                    <a:pt x="120" y="8"/>
                  </a:moveTo>
                  <a:cubicBezTo>
                    <a:pt x="115" y="8"/>
                    <a:pt x="115" y="8"/>
                    <a:pt x="115" y="8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20" y="0"/>
                    <a:pt x="120" y="0"/>
                    <a:pt x="120" y="0"/>
                  </a:cubicBezTo>
                  <a:lnTo>
                    <a:pt x="120" y="8"/>
                  </a:lnTo>
                  <a:close/>
                  <a:moveTo>
                    <a:pt x="120" y="55"/>
                  </a:moveTo>
                  <a:cubicBezTo>
                    <a:pt x="115" y="55"/>
                    <a:pt x="115" y="55"/>
                    <a:pt x="115" y="55"/>
                  </a:cubicBezTo>
                  <a:cubicBezTo>
                    <a:pt x="115" y="14"/>
                    <a:pt x="115" y="14"/>
                    <a:pt x="115" y="14"/>
                  </a:cubicBezTo>
                  <a:cubicBezTo>
                    <a:pt x="120" y="14"/>
                    <a:pt x="120" y="14"/>
                    <a:pt x="120" y="14"/>
                  </a:cubicBezTo>
                  <a:lnTo>
                    <a:pt x="120" y="55"/>
                  </a:lnTo>
                  <a:close/>
                  <a:moveTo>
                    <a:pt x="129" y="31"/>
                  </a:moveTo>
                  <a:cubicBezTo>
                    <a:pt x="134" y="31"/>
                    <a:pt x="134" y="31"/>
                    <a:pt x="134" y="31"/>
                  </a:cubicBezTo>
                  <a:cubicBezTo>
                    <a:pt x="134" y="22"/>
                    <a:pt x="134" y="22"/>
                    <a:pt x="134" y="22"/>
                  </a:cubicBezTo>
                  <a:cubicBezTo>
                    <a:pt x="134" y="20"/>
                    <a:pt x="133" y="20"/>
                    <a:pt x="131" y="20"/>
                  </a:cubicBezTo>
                  <a:cubicBezTo>
                    <a:pt x="129" y="20"/>
                    <a:pt x="129" y="20"/>
                    <a:pt x="129" y="22"/>
                  </a:cubicBezTo>
                  <a:cubicBezTo>
                    <a:pt x="129" y="31"/>
                    <a:pt x="129" y="31"/>
                    <a:pt x="129" y="31"/>
                  </a:cubicBezTo>
                  <a:close/>
                  <a:moveTo>
                    <a:pt x="129" y="48"/>
                  </a:moveTo>
                  <a:cubicBezTo>
                    <a:pt x="129" y="50"/>
                    <a:pt x="129" y="50"/>
                    <a:pt x="131" y="50"/>
                  </a:cubicBezTo>
                  <a:cubicBezTo>
                    <a:pt x="133" y="50"/>
                    <a:pt x="134" y="50"/>
                    <a:pt x="134" y="48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6"/>
                    <a:pt x="138" y="46"/>
                    <a:pt x="138" y="46"/>
                  </a:cubicBezTo>
                  <a:cubicBezTo>
                    <a:pt x="138" y="52"/>
                    <a:pt x="136" y="55"/>
                    <a:pt x="131" y="55"/>
                  </a:cubicBezTo>
                  <a:cubicBezTo>
                    <a:pt x="127" y="55"/>
                    <a:pt x="124" y="52"/>
                    <a:pt x="124" y="46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18"/>
                    <a:pt x="127" y="14"/>
                    <a:pt x="131" y="14"/>
                  </a:cubicBezTo>
                  <a:cubicBezTo>
                    <a:pt x="136" y="14"/>
                    <a:pt x="138" y="18"/>
                    <a:pt x="138" y="24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48"/>
                    <a:pt x="129" y="48"/>
                    <a:pt x="129" y="48"/>
                  </a:cubicBezTo>
                  <a:close/>
                  <a:moveTo>
                    <a:pt x="148" y="48"/>
                  </a:moveTo>
                  <a:cubicBezTo>
                    <a:pt x="148" y="50"/>
                    <a:pt x="149" y="50"/>
                    <a:pt x="150" y="50"/>
                  </a:cubicBezTo>
                  <a:cubicBezTo>
                    <a:pt x="152" y="50"/>
                    <a:pt x="152" y="50"/>
                    <a:pt x="152" y="48"/>
                  </a:cubicBezTo>
                  <a:cubicBezTo>
                    <a:pt x="152" y="14"/>
                    <a:pt x="152" y="14"/>
                    <a:pt x="152" y="14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8" y="55"/>
                    <a:pt x="158" y="55"/>
                    <a:pt x="158" y="55"/>
                  </a:cubicBezTo>
                  <a:cubicBezTo>
                    <a:pt x="152" y="55"/>
                    <a:pt x="152" y="55"/>
                    <a:pt x="152" y="55"/>
                  </a:cubicBezTo>
                  <a:cubicBezTo>
                    <a:pt x="152" y="54"/>
                    <a:pt x="152" y="54"/>
                    <a:pt x="152" y="54"/>
                  </a:cubicBezTo>
                  <a:cubicBezTo>
                    <a:pt x="152" y="55"/>
                    <a:pt x="151" y="55"/>
                    <a:pt x="149" y="55"/>
                  </a:cubicBezTo>
                  <a:cubicBezTo>
                    <a:pt x="145" y="55"/>
                    <a:pt x="143" y="52"/>
                    <a:pt x="143" y="46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8" y="48"/>
                    <a:pt x="148" y="48"/>
                    <a:pt x="148" y="48"/>
                  </a:cubicBezTo>
                  <a:close/>
                  <a:moveTo>
                    <a:pt x="160" y="14"/>
                  </a:moveTo>
                  <a:cubicBezTo>
                    <a:pt x="161" y="14"/>
                    <a:pt x="161" y="14"/>
                    <a:pt x="161" y="14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3"/>
                    <a:pt x="164" y="0"/>
                    <a:pt x="169" y="0"/>
                  </a:cubicBezTo>
                  <a:cubicBezTo>
                    <a:pt x="169" y="5"/>
                    <a:pt x="169" y="5"/>
                    <a:pt x="169" y="5"/>
                  </a:cubicBezTo>
                  <a:cubicBezTo>
                    <a:pt x="167" y="5"/>
                    <a:pt x="166" y="6"/>
                    <a:pt x="166" y="8"/>
                  </a:cubicBezTo>
                  <a:cubicBezTo>
                    <a:pt x="166" y="14"/>
                    <a:pt x="166" y="14"/>
                    <a:pt x="166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6" y="20"/>
                    <a:pt x="166" y="20"/>
                    <a:pt x="166" y="20"/>
                  </a:cubicBezTo>
                  <a:cubicBezTo>
                    <a:pt x="166" y="55"/>
                    <a:pt x="166" y="55"/>
                    <a:pt x="166" y="55"/>
                  </a:cubicBezTo>
                  <a:cubicBezTo>
                    <a:pt x="161" y="55"/>
                    <a:pt x="161" y="55"/>
                    <a:pt x="161" y="5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0" y="20"/>
                    <a:pt x="160" y="20"/>
                    <a:pt x="160" y="20"/>
                  </a:cubicBezTo>
                  <a:cubicBezTo>
                    <a:pt x="160" y="14"/>
                    <a:pt x="160" y="14"/>
                    <a:pt x="160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 noEditPoints="1"/>
            </p:cNvSpPr>
            <p:nvPr/>
          </p:nvSpPr>
          <p:spPr bwMode="auto">
            <a:xfrm>
              <a:off x="3832227" y="3121037"/>
              <a:ext cx="473075" cy="139304"/>
            </a:xfrm>
            <a:custGeom>
              <a:avLst/>
              <a:gdLst/>
              <a:ahLst/>
              <a:cxnLst>
                <a:cxn ang="0">
                  <a:pos x="9" y="23"/>
                </a:cxn>
                <a:cxn ang="0">
                  <a:pos x="7" y="61"/>
                </a:cxn>
                <a:cxn ang="0">
                  <a:pos x="0" y="45"/>
                </a:cxn>
                <a:cxn ang="0">
                  <a:pos x="9" y="15"/>
                </a:cxn>
                <a:cxn ang="0">
                  <a:pos x="0" y="58"/>
                </a:cxn>
                <a:cxn ang="0">
                  <a:pos x="28" y="15"/>
                </a:cxn>
                <a:cxn ang="0">
                  <a:pos x="23" y="56"/>
                </a:cxn>
                <a:cxn ang="0">
                  <a:pos x="23" y="17"/>
                </a:cxn>
                <a:cxn ang="0">
                  <a:pos x="36" y="44"/>
                </a:cxn>
                <a:cxn ang="0">
                  <a:pos x="40" y="37"/>
                </a:cxn>
                <a:cxn ang="0">
                  <a:pos x="40" y="32"/>
                </a:cxn>
                <a:cxn ang="0">
                  <a:pos x="36" y="30"/>
                </a:cxn>
                <a:cxn ang="0">
                  <a:pos x="45" y="25"/>
                </a:cxn>
                <a:cxn ang="0">
                  <a:pos x="36" y="56"/>
                </a:cxn>
                <a:cxn ang="0">
                  <a:pos x="50" y="15"/>
                </a:cxn>
                <a:cxn ang="0">
                  <a:pos x="56" y="15"/>
                </a:cxn>
                <a:cxn ang="0">
                  <a:pos x="57" y="51"/>
                </a:cxn>
                <a:cxn ang="0">
                  <a:pos x="47" y="20"/>
                </a:cxn>
                <a:cxn ang="0">
                  <a:pos x="60" y="0"/>
                </a:cxn>
                <a:cxn ang="0">
                  <a:pos x="60" y="56"/>
                </a:cxn>
                <a:cxn ang="0">
                  <a:pos x="79" y="37"/>
                </a:cxn>
                <a:cxn ang="0">
                  <a:pos x="74" y="49"/>
                </a:cxn>
                <a:cxn ang="0">
                  <a:pos x="70" y="43"/>
                </a:cxn>
                <a:cxn ang="0">
                  <a:pos x="79" y="23"/>
                </a:cxn>
                <a:cxn ang="0">
                  <a:pos x="70" y="30"/>
                </a:cxn>
                <a:cxn ang="0">
                  <a:pos x="84" y="56"/>
                </a:cxn>
                <a:cxn ang="0">
                  <a:pos x="70" y="46"/>
                </a:cxn>
                <a:cxn ang="0">
                  <a:pos x="93" y="22"/>
                </a:cxn>
                <a:cxn ang="0">
                  <a:pos x="95" y="56"/>
                </a:cxn>
                <a:cxn ang="0">
                  <a:pos x="93" y="49"/>
                </a:cxn>
                <a:cxn ang="0">
                  <a:pos x="92" y="36"/>
                </a:cxn>
                <a:cxn ang="0">
                  <a:pos x="101" y="29"/>
                </a:cxn>
                <a:cxn ang="0">
                  <a:pos x="122" y="39"/>
                </a:cxn>
                <a:cxn ang="0">
                  <a:pos x="121" y="51"/>
                </a:cxn>
                <a:cxn ang="0">
                  <a:pos x="118" y="36"/>
                </a:cxn>
                <a:cxn ang="0">
                  <a:pos x="122" y="20"/>
                </a:cxn>
                <a:cxn ang="0">
                  <a:pos x="115" y="25"/>
                </a:cxn>
                <a:cxn ang="0">
                  <a:pos x="124" y="56"/>
                </a:cxn>
                <a:cxn ang="0">
                  <a:pos x="114" y="43"/>
                </a:cxn>
                <a:cxn ang="0">
                  <a:pos x="142" y="23"/>
                </a:cxn>
                <a:cxn ang="0">
                  <a:pos x="140" y="61"/>
                </a:cxn>
                <a:cxn ang="0">
                  <a:pos x="133" y="45"/>
                </a:cxn>
                <a:cxn ang="0">
                  <a:pos x="142" y="15"/>
                </a:cxn>
                <a:cxn ang="0">
                  <a:pos x="133" y="58"/>
                </a:cxn>
                <a:cxn ang="0">
                  <a:pos x="159" y="20"/>
                </a:cxn>
                <a:cxn ang="0">
                  <a:pos x="161" y="49"/>
                </a:cxn>
                <a:cxn ang="0">
                  <a:pos x="152" y="46"/>
                </a:cxn>
                <a:cxn ang="0">
                  <a:pos x="167" y="46"/>
                </a:cxn>
              </a:cxnLst>
              <a:rect l="0" t="0" r="r" b="b"/>
              <a:pathLst>
                <a:path w="167" h="66">
                  <a:moveTo>
                    <a:pt x="5" y="48"/>
                  </a:moveTo>
                  <a:cubicBezTo>
                    <a:pt x="5" y="49"/>
                    <a:pt x="5" y="50"/>
                    <a:pt x="7" y="50"/>
                  </a:cubicBezTo>
                  <a:cubicBezTo>
                    <a:pt x="9" y="50"/>
                    <a:pt x="9" y="49"/>
                    <a:pt x="9" y="48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1"/>
                    <a:pt x="9" y="20"/>
                    <a:pt x="7" y="20"/>
                  </a:cubicBezTo>
                  <a:cubicBezTo>
                    <a:pt x="5" y="20"/>
                    <a:pt x="5" y="21"/>
                    <a:pt x="5" y="23"/>
                  </a:cubicBezTo>
                  <a:lnTo>
                    <a:pt x="5" y="48"/>
                  </a:lnTo>
                  <a:close/>
                  <a:moveTo>
                    <a:pt x="7" y="61"/>
                  </a:moveTo>
                  <a:cubicBezTo>
                    <a:pt x="9" y="61"/>
                    <a:pt x="9" y="60"/>
                    <a:pt x="9" y="58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5"/>
                    <a:pt x="8" y="55"/>
                    <a:pt x="5" y="55"/>
                  </a:cubicBezTo>
                  <a:cubicBezTo>
                    <a:pt x="1" y="55"/>
                    <a:pt x="0" y="52"/>
                    <a:pt x="0" y="4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1" y="15"/>
                    <a:pt x="5" y="15"/>
                  </a:cubicBezTo>
                  <a:cubicBezTo>
                    <a:pt x="6" y="15"/>
                    <a:pt x="8" y="16"/>
                    <a:pt x="9" y="17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63"/>
                    <a:pt x="12" y="66"/>
                    <a:pt x="7" y="66"/>
                  </a:cubicBezTo>
                  <a:cubicBezTo>
                    <a:pt x="2" y="66"/>
                    <a:pt x="0" y="63"/>
                    <a:pt x="0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60"/>
                    <a:pt x="5" y="61"/>
                    <a:pt x="7" y="61"/>
                  </a:cubicBezTo>
                  <a:close/>
                  <a:moveTo>
                    <a:pt x="23" y="17"/>
                  </a:moveTo>
                  <a:cubicBezTo>
                    <a:pt x="24" y="16"/>
                    <a:pt x="25" y="15"/>
                    <a:pt x="28" y="15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7" y="21"/>
                    <a:pt x="27" y="20"/>
                    <a:pt x="26" y="20"/>
                  </a:cubicBezTo>
                  <a:cubicBezTo>
                    <a:pt x="24" y="20"/>
                    <a:pt x="23" y="21"/>
                    <a:pt x="23" y="23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3" y="15"/>
                    <a:pt x="23" y="15"/>
                    <a:pt x="23" y="15"/>
                  </a:cubicBezTo>
                  <a:lnTo>
                    <a:pt x="23" y="17"/>
                  </a:lnTo>
                  <a:close/>
                  <a:moveTo>
                    <a:pt x="40" y="37"/>
                  </a:moveTo>
                  <a:cubicBezTo>
                    <a:pt x="40" y="38"/>
                    <a:pt x="39" y="39"/>
                    <a:pt x="38" y="39"/>
                  </a:cubicBezTo>
                  <a:cubicBezTo>
                    <a:pt x="38" y="39"/>
                    <a:pt x="37" y="40"/>
                    <a:pt x="37" y="40"/>
                  </a:cubicBezTo>
                  <a:cubicBezTo>
                    <a:pt x="36" y="41"/>
                    <a:pt x="36" y="42"/>
                    <a:pt x="36" y="44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50"/>
                    <a:pt x="36" y="51"/>
                    <a:pt x="38" y="51"/>
                  </a:cubicBezTo>
                  <a:cubicBezTo>
                    <a:pt x="40" y="51"/>
                    <a:pt x="40" y="50"/>
                    <a:pt x="40" y="49"/>
                  </a:cubicBezTo>
                  <a:lnTo>
                    <a:pt x="40" y="37"/>
                  </a:lnTo>
                  <a:close/>
                  <a:moveTo>
                    <a:pt x="31" y="43"/>
                  </a:moveTo>
                  <a:cubicBezTo>
                    <a:pt x="31" y="40"/>
                    <a:pt x="32" y="37"/>
                    <a:pt x="34" y="36"/>
                  </a:cubicBezTo>
                  <a:cubicBezTo>
                    <a:pt x="36" y="35"/>
                    <a:pt x="37" y="34"/>
                    <a:pt x="38" y="34"/>
                  </a:cubicBezTo>
                  <a:cubicBezTo>
                    <a:pt x="39" y="33"/>
                    <a:pt x="40" y="32"/>
                    <a:pt x="40" y="3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1"/>
                    <a:pt x="40" y="20"/>
                    <a:pt x="38" y="20"/>
                  </a:cubicBezTo>
                  <a:cubicBezTo>
                    <a:pt x="37" y="20"/>
                    <a:pt x="36" y="21"/>
                    <a:pt x="36" y="23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18"/>
                    <a:pt x="33" y="15"/>
                    <a:pt x="38" y="15"/>
                  </a:cubicBezTo>
                  <a:cubicBezTo>
                    <a:pt x="43" y="15"/>
                    <a:pt x="45" y="18"/>
                    <a:pt x="45" y="25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5"/>
                    <a:pt x="38" y="56"/>
                    <a:pt x="36" y="56"/>
                  </a:cubicBezTo>
                  <a:cubicBezTo>
                    <a:pt x="33" y="56"/>
                    <a:pt x="31" y="53"/>
                    <a:pt x="31" y="46"/>
                  </a:cubicBezTo>
                  <a:cubicBezTo>
                    <a:pt x="31" y="43"/>
                    <a:pt x="31" y="43"/>
                    <a:pt x="31" y="43"/>
                  </a:cubicBezTo>
                  <a:close/>
                  <a:moveTo>
                    <a:pt x="47" y="15"/>
                  </a:moveTo>
                  <a:cubicBezTo>
                    <a:pt x="50" y="15"/>
                    <a:pt x="50" y="15"/>
                    <a:pt x="50" y="1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4" y="50"/>
                    <a:pt x="55" y="51"/>
                    <a:pt x="57" y="51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2" y="56"/>
                    <a:pt x="50" y="53"/>
                    <a:pt x="50" y="46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7" y="20"/>
                    <a:pt x="47" y="20"/>
                    <a:pt x="47" y="20"/>
                  </a:cubicBezTo>
                  <a:lnTo>
                    <a:pt x="47" y="15"/>
                  </a:lnTo>
                  <a:close/>
                  <a:moveTo>
                    <a:pt x="65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5" y="0"/>
                    <a:pt x="65" y="0"/>
                    <a:pt x="65" y="0"/>
                  </a:cubicBezTo>
                  <a:lnTo>
                    <a:pt x="65" y="8"/>
                  </a:lnTo>
                  <a:close/>
                  <a:moveTo>
                    <a:pt x="65" y="56"/>
                  </a:moveTo>
                  <a:cubicBezTo>
                    <a:pt x="60" y="56"/>
                    <a:pt x="60" y="56"/>
                    <a:pt x="60" y="56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5" y="15"/>
                    <a:pt x="65" y="15"/>
                    <a:pt x="65" y="15"/>
                  </a:cubicBezTo>
                  <a:lnTo>
                    <a:pt x="65" y="56"/>
                  </a:lnTo>
                  <a:close/>
                  <a:moveTo>
                    <a:pt x="79" y="37"/>
                  </a:moveTo>
                  <a:cubicBezTo>
                    <a:pt x="79" y="38"/>
                    <a:pt x="78" y="39"/>
                    <a:pt x="78" y="39"/>
                  </a:cubicBezTo>
                  <a:cubicBezTo>
                    <a:pt x="77" y="39"/>
                    <a:pt x="77" y="40"/>
                    <a:pt x="76" y="40"/>
                  </a:cubicBezTo>
                  <a:cubicBezTo>
                    <a:pt x="75" y="41"/>
                    <a:pt x="74" y="42"/>
                    <a:pt x="74" y="44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50"/>
                    <a:pt x="75" y="51"/>
                    <a:pt x="77" y="51"/>
                  </a:cubicBezTo>
                  <a:cubicBezTo>
                    <a:pt x="78" y="51"/>
                    <a:pt x="79" y="50"/>
                    <a:pt x="79" y="49"/>
                  </a:cubicBezTo>
                  <a:cubicBezTo>
                    <a:pt x="79" y="37"/>
                    <a:pt x="79" y="37"/>
                    <a:pt x="79" y="37"/>
                  </a:cubicBezTo>
                  <a:close/>
                  <a:moveTo>
                    <a:pt x="70" y="43"/>
                  </a:moveTo>
                  <a:cubicBezTo>
                    <a:pt x="70" y="40"/>
                    <a:pt x="71" y="37"/>
                    <a:pt x="73" y="36"/>
                  </a:cubicBezTo>
                  <a:cubicBezTo>
                    <a:pt x="74" y="35"/>
                    <a:pt x="75" y="34"/>
                    <a:pt x="77" y="34"/>
                  </a:cubicBezTo>
                  <a:cubicBezTo>
                    <a:pt x="78" y="33"/>
                    <a:pt x="78" y="32"/>
                    <a:pt x="79" y="32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1"/>
                    <a:pt x="78" y="20"/>
                    <a:pt x="77" y="20"/>
                  </a:cubicBezTo>
                  <a:cubicBezTo>
                    <a:pt x="75" y="20"/>
                    <a:pt x="75" y="21"/>
                    <a:pt x="75" y="23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18"/>
                    <a:pt x="73" y="15"/>
                    <a:pt x="77" y="15"/>
                  </a:cubicBezTo>
                  <a:cubicBezTo>
                    <a:pt x="82" y="15"/>
                    <a:pt x="84" y="18"/>
                    <a:pt x="84" y="25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8" y="55"/>
                    <a:pt x="77" y="56"/>
                    <a:pt x="75" y="56"/>
                  </a:cubicBezTo>
                  <a:cubicBezTo>
                    <a:pt x="72" y="56"/>
                    <a:pt x="70" y="53"/>
                    <a:pt x="70" y="46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97" y="22"/>
                  </a:moveTo>
                  <a:cubicBezTo>
                    <a:pt x="97" y="21"/>
                    <a:pt x="96" y="19"/>
                    <a:pt x="95" y="19"/>
                  </a:cubicBezTo>
                  <a:cubicBezTo>
                    <a:pt x="93" y="19"/>
                    <a:pt x="93" y="21"/>
                    <a:pt x="93" y="22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28"/>
                    <a:pt x="94" y="31"/>
                    <a:pt x="97" y="35"/>
                  </a:cubicBezTo>
                  <a:cubicBezTo>
                    <a:pt x="100" y="39"/>
                    <a:pt x="102" y="42"/>
                    <a:pt x="102" y="46"/>
                  </a:cubicBezTo>
                  <a:cubicBezTo>
                    <a:pt x="102" y="53"/>
                    <a:pt x="100" y="56"/>
                    <a:pt x="95" y="56"/>
                  </a:cubicBezTo>
                  <a:cubicBezTo>
                    <a:pt x="90" y="56"/>
                    <a:pt x="88" y="53"/>
                    <a:pt x="88" y="46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3" y="50"/>
                    <a:pt x="93" y="51"/>
                    <a:pt x="95" y="51"/>
                  </a:cubicBezTo>
                  <a:cubicBezTo>
                    <a:pt x="96" y="51"/>
                    <a:pt x="97" y="50"/>
                    <a:pt x="97" y="49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7" y="42"/>
                    <a:pt x="96" y="40"/>
                    <a:pt x="92" y="36"/>
                  </a:cubicBezTo>
                  <a:cubicBezTo>
                    <a:pt x="90" y="34"/>
                    <a:pt x="88" y="30"/>
                    <a:pt x="88" y="26"/>
                  </a:cubicBezTo>
                  <a:cubicBezTo>
                    <a:pt x="88" y="18"/>
                    <a:pt x="90" y="15"/>
                    <a:pt x="95" y="15"/>
                  </a:cubicBezTo>
                  <a:cubicBezTo>
                    <a:pt x="99" y="15"/>
                    <a:pt x="101" y="18"/>
                    <a:pt x="101" y="26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7" y="22"/>
                    <a:pt x="97" y="22"/>
                    <a:pt x="97" y="22"/>
                  </a:cubicBezTo>
                  <a:close/>
                  <a:moveTo>
                    <a:pt x="124" y="37"/>
                  </a:moveTo>
                  <a:cubicBezTo>
                    <a:pt x="123" y="38"/>
                    <a:pt x="123" y="39"/>
                    <a:pt x="122" y="39"/>
                  </a:cubicBezTo>
                  <a:cubicBezTo>
                    <a:pt x="122" y="39"/>
                    <a:pt x="121" y="40"/>
                    <a:pt x="120" y="40"/>
                  </a:cubicBezTo>
                  <a:cubicBezTo>
                    <a:pt x="119" y="41"/>
                    <a:pt x="119" y="42"/>
                    <a:pt x="119" y="44"/>
                  </a:cubicBezTo>
                  <a:cubicBezTo>
                    <a:pt x="119" y="49"/>
                    <a:pt x="119" y="49"/>
                    <a:pt x="119" y="49"/>
                  </a:cubicBezTo>
                  <a:cubicBezTo>
                    <a:pt x="119" y="50"/>
                    <a:pt x="120" y="51"/>
                    <a:pt x="121" y="51"/>
                  </a:cubicBezTo>
                  <a:cubicBezTo>
                    <a:pt x="123" y="51"/>
                    <a:pt x="124" y="50"/>
                    <a:pt x="124" y="49"/>
                  </a:cubicBezTo>
                  <a:cubicBezTo>
                    <a:pt x="124" y="37"/>
                    <a:pt x="124" y="37"/>
                    <a:pt x="124" y="37"/>
                  </a:cubicBezTo>
                  <a:close/>
                  <a:moveTo>
                    <a:pt x="114" y="43"/>
                  </a:moveTo>
                  <a:cubicBezTo>
                    <a:pt x="114" y="40"/>
                    <a:pt x="115" y="37"/>
                    <a:pt x="118" y="36"/>
                  </a:cubicBezTo>
                  <a:cubicBezTo>
                    <a:pt x="119" y="35"/>
                    <a:pt x="120" y="34"/>
                    <a:pt x="121" y="34"/>
                  </a:cubicBezTo>
                  <a:cubicBezTo>
                    <a:pt x="122" y="33"/>
                    <a:pt x="123" y="32"/>
                    <a:pt x="124" y="32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24" y="21"/>
                    <a:pt x="123" y="20"/>
                    <a:pt x="122" y="20"/>
                  </a:cubicBezTo>
                  <a:cubicBezTo>
                    <a:pt x="120" y="20"/>
                    <a:pt x="119" y="21"/>
                    <a:pt x="119" y="23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115" y="18"/>
                    <a:pt x="117" y="15"/>
                    <a:pt x="122" y="15"/>
                  </a:cubicBezTo>
                  <a:cubicBezTo>
                    <a:pt x="126" y="15"/>
                    <a:pt x="128" y="18"/>
                    <a:pt x="128" y="25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4"/>
                    <a:pt x="124" y="54"/>
                    <a:pt x="124" y="54"/>
                  </a:cubicBezTo>
                  <a:cubicBezTo>
                    <a:pt x="123" y="55"/>
                    <a:pt x="122" y="56"/>
                    <a:pt x="120" y="56"/>
                  </a:cubicBezTo>
                  <a:cubicBezTo>
                    <a:pt x="116" y="56"/>
                    <a:pt x="114" y="53"/>
                    <a:pt x="114" y="46"/>
                  </a:cubicBezTo>
                  <a:cubicBezTo>
                    <a:pt x="114" y="43"/>
                    <a:pt x="114" y="43"/>
                    <a:pt x="114" y="43"/>
                  </a:cubicBezTo>
                  <a:close/>
                  <a:moveTo>
                    <a:pt x="138" y="48"/>
                  </a:moveTo>
                  <a:cubicBezTo>
                    <a:pt x="138" y="49"/>
                    <a:pt x="138" y="50"/>
                    <a:pt x="140" y="50"/>
                  </a:cubicBezTo>
                  <a:cubicBezTo>
                    <a:pt x="142" y="50"/>
                    <a:pt x="142" y="49"/>
                    <a:pt x="142" y="48"/>
                  </a:cubicBezTo>
                  <a:cubicBezTo>
                    <a:pt x="142" y="23"/>
                    <a:pt x="142" y="23"/>
                    <a:pt x="142" y="23"/>
                  </a:cubicBezTo>
                  <a:cubicBezTo>
                    <a:pt x="142" y="21"/>
                    <a:pt x="142" y="20"/>
                    <a:pt x="140" y="20"/>
                  </a:cubicBezTo>
                  <a:cubicBezTo>
                    <a:pt x="138" y="20"/>
                    <a:pt x="138" y="21"/>
                    <a:pt x="138" y="23"/>
                  </a:cubicBezTo>
                  <a:lnTo>
                    <a:pt x="138" y="48"/>
                  </a:lnTo>
                  <a:close/>
                  <a:moveTo>
                    <a:pt x="140" y="61"/>
                  </a:moveTo>
                  <a:cubicBezTo>
                    <a:pt x="142" y="61"/>
                    <a:pt x="142" y="60"/>
                    <a:pt x="142" y="58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5"/>
                    <a:pt x="141" y="55"/>
                    <a:pt x="138" y="55"/>
                  </a:cubicBezTo>
                  <a:cubicBezTo>
                    <a:pt x="135" y="55"/>
                    <a:pt x="133" y="52"/>
                    <a:pt x="133" y="4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3" y="18"/>
                    <a:pt x="134" y="15"/>
                    <a:pt x="138" y="15"/>
                  </a:cubicBezTo>
                  <a:cubicBezTo>
                    <a:pt x="140" y="15"/>
                    <a:pt x="141" y="16"/>
                    <a:pt x="142" y="17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7" y="56"/>
                    <a:pt x="147" y="56"/>
                    <a:pt x="147" y="56"/>
                  </a:cubicBezTo>
                  <a:cubicBezTo>
                    <a:pt x="147" y="63"/>
                    <a:pt x="145" y="66"/>
                    <a:pt x="140" y="66"/>
                  </a:cubicBezTo>
                  <a:cubicBezTo>
                    <a:pt x="136" y="66"/>
                    <a:pt x="133" y="63"/>
                    <a:pt x="133" y="58"/>
                  </a:cubicBezTo>
                  <a:cubicBezTo>
                    <a:pt x="138" y="58"/>
                    <a:pt x="138" y="58"/>
                    <a:pt x="138" y="58"/>
                  </a:cubicBezTo>
                  <a:cubicBezTo>
                    <a:pt x="138" y="60"/>
                    <a:pt x="138" y="61"/>
                    <a:pt x="140" y="61"/>
                  </a:cubicBezTo>
                  <a:close/>
                  <a:moveTo>
                    <a:pt x="161" y="23"/>
                  </a:moveTo>
                  <a:cubicBezTo>
                    <a:pt x="161" y="21"/>
                    <a:pt x="161" y="20"/>
                    <a:pt x="159" y="20"/>
                  </a:cubicBezTo>
                  <a:cubicBezTo>
                    <a:pt x="158" y="20"/>
                    <a:pt x="156" y="21"/>
                    <a:pt x="156" y="23"/>
                  </a:cubicBezTo>
                  <a:cubicBezTo>
                    <a:pt x="156" y="49"/>
                    <a:pt x="156" y="49"/>
                    <a:pt x="156" y="49"/>
                  </a:cubicBezTo>
                  <a:cubicBezTo>
                    <a:pt x="156" y="50"/>
                    <a:pt x="158" y="51"/>
                    <a:pt x="159" y="51"/>
                  </a:cubicBezTo>
                  <a:cubicBezTo>
                    <a:pt x="161" y="51"/>
                    <a:pt x="161" y="50"/>
                    <a:pt x="161" y="49"/>
                  </a:cubicBezTo>
                  <a:lnTo>
                    <a:pt x="161" y="23"/>
                  </a:lnTo>
                  <a:close/>
                  <a:moveTo>
                    <a:pt x="167" y="46"/>
                  </a:moveTo>
                  <a:cubicBezTo>
                    <a:pt x="167" y="53"/>
                    <a:pt x="164" y="56"/>
                    <a:pt x="159" y="56"/>
                  </a:cubicBezTo>
                  <a:cubicBezTo>
                    <a:pt x="154" y="56"/>
                    <a:pt x="152" y="53"/>
                    <a:pt x="152" y="46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18"/>
                    <a:pt x="154" y="15"/>
                    <a:pt x="159" y="15"/>
                  </a:cubicBezTo>
                  <a:cubicBezTo>
                    <a:pt x="164" y="15"/>
                    <a:pt x="167" y="18"/>
                    <a:pt x="167" y="25"/>
                  </a:cubicBezTo>
                  <a:cubicBezTo>
                    <a:pt x="167" y="46"/>
                    <a:pt x="167" y="46"/>
                    <a:pt x="167" y="4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 noEditPoints="1"/>
            </p:cNvSpPr>
            <p:nvPr/>
          </p:nvSpPr>
          <p:spPr bwMode="auto">
            <a:xfrm>
              <a:off x="2443164" y="3494893"/>
              <a:ext cx="155575" cy="407194"/>
            </a:xfrm>
            <a:custGeom>
              <a:avLst/>
              <a:gdLst/>
              <a:ahLst/>
              <a:cxnLst>
                <a:cxn ang="0">
                  <a:pos x="47" y="182"/>
                </a:cxn>
                <a:cxn ang="0">
                  <a:pos x="22" y="187"/>
                </a:cxn>
                <a:cxn ang="0">
                  <a:pos x="55" y="182"/>
                </a:cxn>
                <a:cxn ang="0">
                  <a:pos x="45" y="192"/>
                </a:cxn>
                <a:cxn ang="0">
                  <a:pos x="15" y="182"/>
                </a:cxn>
                <a:cxn ang="0">
                  <a:pos x="55" y="177"/>
                </a:cxn>
                <a:cxn ang="0">
                  <a:pos x="0" y="173"/>
                </a:cxn>
                <a:cxn ang="0">
                  <a:pos x="55" y="168"/>
                </a:cxn>
                <a:cxn ang="0">
                  <a:pos x="14" y="168"/>
                </a:cxn>
                <a:cxn ang="0">
                  <a:pos x="50" y="156"/>
                </a:cxn>
                <a:cxn ang="0">
                  <a:pos x="19" y="156"/>
                </a:cxn>
                <a:cxn ang="0">
                  <a:pos x="55" y="149"/>
                </a:cxn>
                <a:cxn ang="0">
                  <a:pos x="55" y="158"/>
                </a:cxn>
                <a:cxn ang="0">
                  <a:pos x="14" y="158"/>
                </a:cxn>
                <a:cxn ang="0">
                  <a:pos x="0" y="149"/>
                </a:cxn>
                <a:cxn ang="0">
                  <a:pos x="7" y="145"/>
                </a:cxn>
                <a:cxn ang="0">
                  <a:pos x="7" y="140"/>
                </a:cxn>
                <a:cxn ang="0">
                  <a:pos x="14" y="145"/>
                </a:cxn>
                <a:cxn ang="0">
                  <a:pos x="22" y="108"/>
                </a:cxn>
                <a:cxn ang="0">
                  <a:pos x="55" y="113"/>
                </a:cxn>
                <a:cxn ang="0">
                  <a:pos x="19" y="120"/>
                </a:cxn>
                <a:cxn ang="0">
                  <a:pos x="55" y="127"/>
                </a:cxn>
                <a:cxn ang="0">
                  <a:pos x="15" y="122"/>
                </a:cxn>
                <a:cxn ang="0">
                  <a:pos x="14" y="109"/>
                </a:cxn>
                <a:cxn ang="0">
                  <a:pos x="55" y="108"/>
                </a:cxn>
                <a:cxn ang="0">
                  <a:pos x="37" y="91"/>
                </a:cxn>
                <a:cxn ang="0">
                  <a:pos x="47" y="93"/>
                </a:cxn>
                <a:cxn ang="0">
                  <a:pos x="36" y="89"/>
                </a:cxn>
                <a:cxn ang="0">
                  <a:pos x="32" y="91"/>
                </a:cxn>
                <a:cxn ang="0">
                  <a:pos x="19" y="91"/>
                </a:cxn>
                <a:cxn ang="0">
                  <a:pos x="29" y="98"/>
                </a:cxn>
                <a:cxn ang="0">
                  <a:pos x="23" y="84"/>
                </a:cxn>
                <a:cxn ang="0">
                  <a:pos x="53" y="89"/>
                </a:cxn>
                <a:cxn ang="0">
                  <a:pos x="42" y="99"/>
                </a:cxn>
                <a:cxn ang="0">
                  <a:pos x="47" y="70"/>
                </a:cxn>
                <a:cxn ang="0">
                  <a:pos x="22" y="75"/>
                </a:cxn>
                <a:cxn ang="0">
                  <a:pos x="55" y="70"/>
                </a:cxn>
                <a:cxn ang="0">
                  <a:pos x="45" y="79"/>
                </a:cxn>
                <a:cxn ang="0">
                  <a:pos x="15" y="70"/>
                </a:cxn>
                <a:cxn ang="0">
                  <a:pos x="55" y="65"/>
                </a:cxn>
                <a:cxn ang="0">
                  <a:pos x="55" y="56"/>
                </a:cxn>
                <a:cxn ang="0">
                  <a:pos x="22" y="43"/>
                </a:cxn>
                <a:cxn ang="0">
                  <a:pos x="47" y="48"/>
                </a:cxn>
                <a:cxn ang="0">
                  <a:pos x="22" y="43"/>
                </a:cxn>
                <a:cxn ang="0">
                  <a:pos x="45" y="52"/>
                </a:cxn>
                <a:cxn ang="0">
                  <a:pos x="23" y="38"/>
                </a:cxn>
                <a:cxn ang="0">
                  <a:pos x="19" y="27"/>
                </a:cxn>
                <a:cxn ang="0">
                  <a:pos x="50" y="27"/>
                </a:cxn>
                <a:cxn ang="0">
                  <a:pos x="0" y="34"/>
                </a:cxn>
                <a:cxn ang="0">
                  <a:pos x="14" y="25"/>
                </a:cxn>
                <a:cxn ang="0">
                  <a:pos x="55" y="26"/>
                </a:cxn>
                <a:cxn ang="0">
                  <a:pos x="55" y="34"/>
                </a:cxn>
                <a:cxn ang="0">
                  <a:pos x="37" y="7"/>
                </a:cxn>
                <a:cxn ang="0">
                  <a:pos x="47" y="10"/>
                </a:cxn>
                <a:cxn ang="0">
                  <a:pos x="36" y="5"/>
                </a:cxn>
                <a:cxn ang="0">
                  <a:pos x="32" y="8"/>
                </a:cxn>
                <a:cxn ang="0">
                  <a:pos x="19" y="8"/>
                </a:cxn>
                <a:cxn ang="0">
                  <a:pos x="29" y="14"/>
                </a:cxn>
                <a:cxn ang="0">
                  <a:pos x="23" y="0"/>
                </a:cxn>
                <a:cxn ang="0">
                  <a:pos x="53" y="5"/>
                </a:cxn>
                <a:cxn ang="0">
                  <a:pos x="42" y="15"/>
                </a:cxn>
              </a:cxnLst>
              <a:rect l="0" t="0" r="r" b="b"/>
              <a:pathLst>
                <a:path w="55" h="192">
                  <a:moveTo>
                    <a:pt x="47" y="187"/>
                  </a:moveTo>
                  <a:cubicBezTo>
                    <a:pt x="49" y="187"/>
                    <a:pt x="50" y="186"/>
                    <a:pt x="50" y="185"/>
                  </a:cubicBezTo>
                  <a:cubicBezTo>
                    <a:pt x="50" y="183"/>
                    <a:pt x="49" y="182"/>
                    <a:pt x="47" y="182"/>
                  </a:cubicBezTo>
                  <a:cubicBezTo>
                    <a:pt x="22" y="182"/>
                    <a:pt x="22" y="182"/>
                    <a:pt x="22" y="182"/>
                  </a:cubicBezTo>
                  <a:cubicBezTo>
                    <a:pt x="20" y="182"/>
                    <a:pt x="19" y="183"/>
                    <a:pt x="19" y="185"/>
                  </a:cubicBezTo>
                  <a:cubicBezTo>
                    <a:pt x="19" y="186"/>
                    <a:pt x="20" y="187"/>
                    <a:pt x="22" y="187"/>
                  </a:cubicBezTo>
                  <a:lnTo>
                    <a:pt x="47" y="187"/>
                  </a:lnTo>
                  <a:close/>
                  <a:moveTo>
                    <a:pt x="55" y="177"/>
                  </a:moveTo>
                  <a:cubicBezTo>
                    <a:pt x="55" y="182"/>
                    <a:pt x="55" y="182"/>
                    <a:pt x="55" y="182"/>
                  </a:cubicBezTo>
                  <a:cubicBezTo>
                    <a:pt x="53" y="182"/>
                    <a:pt x="53" y="182"/>
                    <a:pt x="53" y="182"/>
                  </a:cubicBezTo>
                  <a:cubicBezTo>
                    <a:pt x="54" y="183"/>
                    <a:pt x="55" y="185"/>
                    <a:pt x="55" y="186"/>
                  </a:cubicBezTo>
                  <a:cubicBezTo>
                    <a:pt x="55" y="190"/>
                    <a:pt x="52" y="192"/>
                    <a:pt x="45" y="192"/>
                  </a:cubicBezTo>
                  <a:cubicBezTo>
                    <a:pt x="23" y="192"/>
                    <a:pt x="23" y="192"/>
                    <a:pt x="23" y="192"/>
                  </a:cubicBezTo>
                  <a:cubicBezTo>
                    <a:pt x="17" y="192"/>
                    <a:pt x="14" y="190"/>
                    <a:pt x="14" y="186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77"/>
                    <a:pt x="0" y="177"/>
                    <a:pt x="0" y="177"/>
                  </a:cubicBezTo>
                  <a:lnTo>
                    <a:pt x="55" y="177"/>
                  </a:lnTo>
                  <a:close/>
                  <a:moveTo>
                    <a:pt x="7" y="168"/>
                  </a:moveTo>
                  <a:cubicBezTo>
                    <a:pt x="7" y="173"/>
                    <a:pt x="7" y="173"/>
                    <a:pt x="7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68"/>
                    <a:pt x="0" y="168"/>
                    <a:pt x="0" y="168"/>
                  </a:cubicBezTo>
                  <a:lnTo>
                    <a:pt x="7" y="168"/>
                  </a:lnTo>
                  <a:close/>
                  <a:moveTo>
                    <a:pt x="55" y="168"/>
                  </a:moveTo>
                  <a:cubicBezTo>
                    <a:pt x="55" y="173"/>
                    <a:pt x="55" y="173"/>
                    <a:pt x="55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68"/>
                    <a:pt x="14" y="168"/>
                    <a:pt x="14" y="168"/>
                  </a:cubicBezTo>
                  <a:lnTo>
                    <a:pt x="55" y="168"/>
                  </a:lnTo>
                  <a:close/>
                  <a:moveTo>
                    <a:pt x="47" y="159"/>
                  </a:moveTo>
                  <a:cubicBezTo>
                    <a:pt x="49" y="159"/>
                    <a:pt x="50" y="158"/>
                    <a:pt x="50" y="156"/>
                  </a:cubicBezTo>
                  <a:cubicBezTo>
                    <a:pt x="50" y="155"/>
                    <a:pt x="49" y="154"/>
                    <a:pt x="47" y="154"/>
                  </a:cubicBezTo>
                  <a:cubicBezTo>
                    <a:pt x="22" y="154"/>
                    <a:pt x="22" y="154"/>
                    <a:pt x="22" y="154"/>
                  </a:cubicBezTo>
                  <a:cubicBezTo>
                    <a:pt x="20" y="154"/>
                    <a:pt x="19" y="155"/>
                    <a:pt x="19" y="156"/>
                  </a:cubicBezTo>
                  <a:cubicBezTo>
                    <a:pt x="19" y="158"/>
                    <a:pt x="20" y="159"/>
                    <a:pt x="22" y="159"/>
                  </a:cubicBezTo>
                  <a:lnTo>
                    <a:pt x="47" y="159"/>
                  </a:lnTo>
                  <a:close/>
                  <a:moveTo>
                    <a:pt x="55" y="149"/>
                  </a:moveTo>
                  <a:cubicBezTo>
                    <a:pt x="55" y="154"/>
                    <a:pt x="55" y="154"/>
                    <a:pt x="55" y="154"/>
                  </a:cubicBezTo>
                  <a:cubicBezTo>
                    <a:pt x="53" y="154"/>
                    <a:pt x="53" y="154"/>
                    <a:pt x="53" y="154"/>
                  </a:cubicBezTo>
                  <a:cubicBezTo>
                    <a:pt x="54" y="155"/>
                    <a:pt x="55" y="156"/>
                    <a:pt x="55" y="158"/>
                  </a:cubicBezTo>
                  <a:cubicBezTo>
                    <a:pt x="55" y="162"/>
                    <a:pt x="52" y="164"/>
                    <a:pt x="45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17" y="164"/>
                    <a:pt x="14" y="162"/>
                    <a:pt x="14" y="158"/>
                  </a:cubicBezTo>
                  <a:cubicBezTo>
                    <a:pt x="14" y="156"/>
                    <a:pt x="14" y="155"/>
                    <a:pt x="15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55" y="149"/>
                  </a:lnTo>
                  <a:close/>
                  <a:moveTo>
                    <a:pt x="7" y="140"/>
                  </a:moveTo>
                  <a:cubicBezTo>
                    <a:pt x="7" y="145"/>
                    <a:pt x="7" y="145"/>
                    <a:pt x="7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7" y="140"/>
                  </a:lnTo>
                  <a:close/>
                  <a:moveTo>
                    <a:pt x="55" y="140"/>
                  </a:moveTo>
                  <a:cubicBezTo>
                    <a:pt x="55" y="145"/>
                    <a:pt x="55" y="145"/>
                    <a:pt x="55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0"/>
                    <a:pt x="14" y="140"/>
                    <a:pt x="14" y="140"/>
                  </a:cubicBezTo>
                  <a:lnTo>
                    <a:pt x="55" y="140"/>
                  </a:lnTo>
                  <a:close/>
                  <a:moveTo>
                    <a:pt x="22" y="108"/>
                  </a:moveTo>
                  <a:cubicBezTo>
                    <a:pt x="20" y="108"/>
                    <a:pt x="19" y="109"/>
                    <a:pt x="19" y="110"/>
                  </a:cubicBezTo>
                  <a:cubicBezTo>
                    <a:pt x="19" y="111"/>
                    <a:pt x="20" y="113"/>
                    <a:pt x="22" y="113"/>
                  </a:cubicBezTo>
                  <a:cubicBezTo>
                    <a:pt x="55" y="113"/>
                    <a:pt x="55" y="113"/>
                    <a:pt x="55" y="113"/>
                  </a:cubicBezTo>
                  <a:cubicBezTo>
                    <a:pt x="55" y="117"/>
                    <a:pt x="55" y="117"/>
                    <a:pt x="55" y="117"/>
                  </a:cubicBezTo>
                  <a:cubicBezTo>
                    <a:pt x="22" y="117"/>
                    <a:pt x="22" y="117"/>
                    <a:pt x="22" y="117"/>
                  </a:cubicBezTo>
                  <a:cubicBezTo>
                    <a:pt x="20" y="117"/>
                    <a:pt x="19" y="118"/>
                    <a:pt x="19" y="120"/>
                  </a:cubicBezTo>
                  <a:cubicBezTo>
                    <a:pt x="19" y="122"/>
                    <a:pt x="20" y="122"/>
                    <a:pt x="22" y="122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5" y="127"/>
                    <a:pt x="55" y="127"/>
                    <a:pt x="55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4" y="122"/>
                    <a:pt x="14" y="120"/>
                    <a:pt x="14" y="118"/>
                  </a:cubicBezTo>
                  <a:cubicBezTo>
                    <a:pt x="14" y="116"/>
                    <a:pt x="15" y="115"/>
                    <a:pt x="17" y="114"/>
                  </a:cubicBezTo>
                  <a:cubicBezTo>
                    <a:pt x="15" y="113"/>
                    <a:pt x="14" y="111"/>
                    <a:pt x="14" y="109"/>
                  </a:cubicBezTo>
                  <a:cubicBezTo>
                    <a:pt x="14" y="105"/>
                    <a:pt x="17" y="103"/>
                    <a:pt x="23" y="103"/>
                  </a:cubicBezTo>
                  <a:cubicBezTo>
                    <a:pt x="55" y="103"/>
                    <a:pt x="55" y="103"/>
                    <a:pt x="55" y="103"/>
                  </a:cubicBezTo>
                  <a:cubicBezTo>
                    <a:pt x="55" y="108"/>
                    <a:pt x="55" y="108"/>
                    <a:pt x="55" y="108"/>
                  </a:cubicBezTo>
                  <a:cubicBezTo>
                    <a:pt x="22" y="108"/>
                    <a:pt x="22" y="108"/>
                    <a:pt x="22" y="108"/>
                  </a:cubicBezTo>
                  <a:close/>
                  <a:moveTo>
                    <a:pt x="36" y="89"/>
                  </a:moveTo>
                  <a:cubicBezTo>
                    <a:pt x="37" y="90"/>
                    <a:pt x="37" y="90"/>
                    <a:pt x="37" y="91"/>
                  </a:cubicBezTo>
                  <a:cubicBezTo>
                    <a:pt x="38" y="91"/>
                    <a:pt x="38" y="92"/>
                    <a:pt x="38" y="92"/>
                  </a:cubicBezTo>
                  <a:cubicBezTo>
                    <a:pt x="40" y="93"/>
                    <a:pt x="41" y="93"/>
                    <a:pt x="43" y="93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9" y="93"/>
                    <a:pt x="50" y="93"/>
                    <a:pt x="50" y="91"/>
                  </a:cubicBezTo>
                  <a:cubicBezTo>
                    <a:pt x="50" y="90"/>
                    <a:pt x="49" y="89"/>
                    <a:pt x="47" y="89"/>
                  </a:cubicBezTo>
                  <a:cubicBezTo>
                    <a:pt x="36" y="89"/>
                    <a:pt x="36" y="89"/>
                    <a:pt x="36" y="89"/>
                  </a:cubicBezTo>
                  <a:close/>
                  <a:moveTo>
                    <a:pt x="42" y="99"/>
                  </a:moveTo>
                  <a:cubicBezTo>
                    <a:pt x="39" y="99"/>
                    <a:pt x="36" y="97"/>
                    <a:pt x="34" y="95"/>
                  </a:cubicBezTo>
                  <a:cubicBezTo>
                    <a:pt x="34" y="94"/>
                    <a:pt x="33" y="92"/>
                    <a:pt x="32" y="91"/>
                  </a:cubicBezTo>
                  <a:cubicBezTo>
                    <a:pt x="32" y="90"/>
                    <a:pt x="31" y="90"/>
                    <a:pt x="31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0" y="89"/>
                    <a:pt x="19" y="90"/>
                    <a:pt x="19" y="91"/>
                  </a:cubicBezTo>
                  <a:cubicBezTo>
                    <a:pt x="19" y="92"/>
                    <a:pt x="20" y="93"/>
                    <a:pt x="22" y="93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8"/>
                    <a:pt x="29" y="98"/>
                    <a:pt x="29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17" y="98"/>
                    <a:pt x="14" y="96"/>
                    <a:pt x="14" y="91"/>
                  </a:cubicBezTo>
                  <a:cubicBezTo>
                    <a:pt x="14" y="86"/>
                    <a:pt x="17" y="84"/>
                    <a:pt x="23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4" y="90"/>
                    <a:pt x="55" y="91"/>
                    <a:pt x="55" y="93"/>
                  </a:cubicBezTo>
                  <a:cubicBezTo>
                    <a:pt x="55" y="96"/>
                    <a:pt x="52" y="99"/>
                    <a:pt x="45" y="99"/>
                  </a:cubicBezTo>
                  <a:cubicBezTo>
                    <a:pt x="42" y="99"/>
                    <a:pt x="42" y="99"/>
                    <a:pt x="42" y="99"/>
                  </a:cubicBezTo>
                  <a:close/>
                  <a:moveTo>
                    <a:pt x="47" y="75"/>
                  </a:moveTo>
                  <a:cubicBezTo>
                    <a:pt x="49" y="75"/>
                    <a:pt x="50" y="74"/>
                    <a:pt x="50" y="72"/>
                  </a:cubicBezTo>
                  <a:cubicBezTo>
                    <a:pt x="50" y="70"/>
                    <a:pt x="49" y="70"/>
                    <a:pt x="47" y="70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0" y="70"/>
                    <a:pt x="19" y="70"/>
                    <a:pt x="19" y="72"/>
                  </a:cubicBezTo>
                  <a:cubicBezTo>
                    <a:pt x="19" y="74"/>
                    <a:pt x="20" y="75"/>
                    <a:pt x="22" y="75"/>
                  </a:cubicBezTo>
                  <a:lnTo>
                    <a:pt x="47" y="75"/>
                  </a:lnTo>
                  <a:close/>
                  <a:moveTo>
                    <a:pt x="55" y="65"/>
                  </a:moveTo>
                  <a:cubicBezTo>
                    <a:pt x="55" y="70"/>
                    <a:pt x="55" y="70"/>
                    <a:pt x="55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4" y="71"/>
                    <a:pt x="55" y="73"/>
                    <a:pt x="55" y="74"/>
                  </a:cubicBezTo>
                  <a:cubicBezTo>
                    <a:pt x="55" y="78"/>
                    <a:pt x="52" y="79"/>
                    <a:pt x="45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17" y="79"/>
                    <a:pt x="14" y="78"/>
                    <a:pt x="14" y="74"/>
                  </a:cubicBezTo>
                  <a:cubicBezTo>
                    <a:pt x="14" y="72"/>
                    <a:pt x="14" y="70"/>
                    <a:pt x="15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65"/>
                    <a:pt x="0" y="65"/>
                    <a:pt x="0" y="65"/>
                  </a:cubicBezTo>
                  <a:lnTo>
                    <a:pt x="55" y="65"/>
                  </a:lnTo>
                  <a:close/>
                  <a:moveTo>
                    <a:pt x="0" y="61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61"/>
                    <a:pt x="55" y="61"/>
                    <a:pt x="55" y="61"/>
                  </a:cubicBezTo>
                  <a:lnTo>
                    <a:pt x="0" y="61"/>
                  </a:lnTo>
                  <a:close/>
                  <a:moveTo>
                    <a:pt x="22" y="43"/>
                  </a:moveTo>
                  <a:cubicBezTo>
                    <a:pt x="20" y="43"/>
                    <a:pt x="19" y="44"/>
                    <a:pt x="19" y="45"/>
                  </a:cubicBezTo>
                  <a:cubicBezTo>
                    <a:pt x="19" y="47"/>
                    <a:pt x="20" y="48"/>
                    <a:pt x="22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8"/>
                    <a:pt x="50" y="47"/>
                    <a:pt x="50" y="45"/>
                  </a:cubicBezTo>
                  <a:cubicBezTo>
                    <a:pt x="50" y="43"/>
                    <a:pt x="49" y="43"/>
                    <a:pt x="47" y="43"/>
                  </a:cubicBezTo>
                  <a:lnTo>
                    <a:pt x="22" y="43"/>
                  </a:lnTo>
                  <a:close/>
                  <a:moveTo>
                    <a:pt x="45" y="38"/>
                  </a:moveTo>
                  <a:cubicBezTo>
                    <a:pt x="52" y="38"/>
                    <a:pt x="55" y="41"/>
                    <a:pt x="55" y="45"/>
                  </a:cubicBezTo>
                  <a:cubicBezTo>
                    <a:pt x="55" y="50"/>
                    <a:pt x="52" y="52"/>
                    <a:pt x="45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17" y="52"/>
                    <a:pt x="14" y="50"/>
                    <a:pt x="14" y="45"/>
                  </a:cubicBezTo>
                  <a:cubicBezTo>
                    <a:pt x="14" y="41"/>
                    <a:pt x="17" y="38"/>
                    <a:pt x="23" y="38"/>
                  </a:cubicBezTo>
                  <a:lnTo>
                    <a:pt x="45" y="38"/>
                  </a:lnTo>
                  <a:close/>
                  <a:moveTo>
                    <a:pt x="22" y="24"/>
                  </a:moveTo>
                  <a:cubicBezTo>
                    <a:pt x="20" y="24"/>
                    <a:pt x="19" y="25"/>
                    <a:pt x="19" y="27"/>
                  </a:cubicBezTo>
                  <a:cubicBezTo>
                    <a:pt x="19" y="28"/>
                    <a:pt x="20" y="29"/>
                    <a:pt x="22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9" y="29"/>
                    <a:pt x="50" y="28"/>
                    <a:pt x="50" y="27"/>
                  </a:cubicBezTo>
                  <a:cubicBezTo>
                    <a:pt x="50" y="25"/>
                    <a:pt x="49" y="24"/>
                    <a:pt x="47" y="24"/>
                  </a:cubicBezTo>
                  <a:lnTo>
                    <a:pt x="22" y="24"/>
                  </a:lnTo>
                  <a:close/>
                  <a:moveTo>
                    <a:pt x="0" y="3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28"/>
                    <a:pt x="14" y="27"/>
                    <a:pt x="14" y="25"/>
                  </a:cubicBezTo>
                  <a:cubicBezTo>
                    <a:pt x="14" y="21"/>
                    <a:pt x="17" y="19"/>
                    <a:pt x="23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52" y="19"/>
                    <a:pt x="55" y="22"/>
                    <a:pt x="55" y="26"/>
                  </a:cubicBezTo>
                  <a:cubicBezTo>
                    <a:pt x="55" y="28"/>
                    <a:pt x="54" y="30"/>
                    <a:pt x="52" y="31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0" y="34"/>
                    <a:pt x="0" y="34"/>
                    <a:pt x="0" y="34"/>
                  </a:cubicBezTo>
                  <a:close/>
                  <a:moveTo>
                    <a:pt x="36" y="5"/>
                  </a:moveTo>
                  <a:cubicBezTo>
                    <a:pt x="37" y="6"/>
                    <a:pt x="37" y="6"/>
                    <a:pt x="37" y="7"/>
                  </a:cubicBezTo>
                  <a:cubicBezTo>
                    <a:pt x="38" y="8"/>
                    <a:pt x="38" y="8"/>
                    <a:pt x="38" y="9"/>
                  </a:cubicBezTo>
                  <a:cubicBezTo>
                    <a:pt x="40" y="10"/>
                    <a:pt x="41" y="10"/>
                    <a:pt x="43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7" y="5"/>
                  </a:cubicBezTo>
                  <a:lnTo>
                    <a:pt x="36" y="5"/>
                  </a:lnTo>
                  <a:close/>
                  <a:moveTo>
                    <a:pt x="42" y="15"/>
                  </a:moveTo>
                  <a:cubicBezTo>
                    <a:pt x="39" y="15"/>
                    <a:pt x="36" y="14"/>
                    <a:pt x="34" y="11"/>
                  </a:cubicBezTo>
                  <a:cubicBezTo>
                    <a:pt x="34" y="10"/>
                    <a:pt x="33" y="9"/>
                    <a:pt x="32" y="8"/>
                  </a:cubicBezTo>
                  <a:cubicBezTo>
                    <a:pt x="32" y="7"/>
                    <a:pt x="31" y="6"/>
                    <a:pt x="3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5"/>
                    <a:pt x="19" y="6"/>
                    <a:pt x="19" y="8"/>
                  </a:cubicBezTo>
                  <a:cubicBezTo>
                    <a:pt x="19" y="9"/>
                    <a:pt x="20" y="10"/>
                    <a:pt x="22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17" y="14"/>
                    <a:pt x="14" y="12"/>
                    <a:pt x="14" y="8"/>
                  </a:cubicBezTo>
                  <a:cubicBezTo>
                    <a:pt x="14" y="3"/>
                    <a:pt x="17" y="0"/>
                    <a:pt x="23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4" y="6"/>
                    <a:pt x="55" y="8"/>
                    <a:pt x="55" y="9"/>
                  </a:cubicBezTo>
                  <a:cubicBezTo>
                    <a:pt x="55" y="13"/>
                    <a:pt x="52" y="15"/>
                    <a:pt x="45" y="15"/>
                  </a:cubicBezTo>
                  <a:cubicBezTo>
                    <a:pt x="42" y="15"/>
                    <a:pt x="42" y="15"/>
                    <a:pt x="42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1516063" y="2443571"/>
              <a:ext cx="458788" cy="138113"/>
            </a:xfrm>
            <a:custGeom>
              <a:avLst/>
              <a:gdLst/>
              <a:ahLst/>
              <a:cxnLst>
                <a:cxn ang="0">
                  <a:pos x="10" y="47"/>
                </a:cxn>
                <a:cxn ang="0">
                  <a:pos x="5" y="22"/>
                </a:cxn>
                <a:cxn ang="0">
                  <a:pos x="10" y="55"/>
                </a:cxn>
                <a:cxn ang="0">
                  <a:pos x="0" y="45"/>
                </a:cxn>
                <a:cxn ang="0">
                  <a:pos x="10" y="15"/>
                </a:cxn>
                <a:cxn ang="0">
                  <a:pos x="15" y="55"/>
                </a:cxn>
                <a:cxn ang="0">
                  <a:pos x="24" y="22"/>
                </a:cxn>
                <a:cxn ang="0">
                  <a:pos x="19" y="0"/>
                </a:cxn>
                <a:cxn ang="0">
                  <a:pos x="28" y="14"/>
                </a:cxn>
                <a:cxn ang="0">
                  <a:pos x="29" y="55"/>
                </a:cxn>
                <a:cxn ang="0">
                  <a:pos x="46" y="38"/>
                </a:cxn>
                <a:cxn ang="0">
                  <a:pos x="43" y="47"/>
                </a:cxn>
                <a:cxn ang="0">
                  <a:pos x="48" y="37"/>
                </a:cxn>
                <a:cxn ang="0">
                  <a:pos x="45" y="32"/>
                </a:cxn>
                <a:cxn ang="0">
                  <a:pos x="46" y="19"/>
                </a:cxn>
                <a:cxn ang="0">
                  <a:pos x="39" y="29"/>
                </a:cxn>
                <a:cxn ang="0">
                  <a:pos x="52" y="24"/>
                </a:cxn>
                <a:cxn ang="0">
                  <a:pos x="48" y="53"/>
                </a:cxn>
                <a:cxn ang="0">
                  <a:pos x="38" y="42"/>
                </a:cxn>
                <a:cxn ang="0">
                  <a:pos x="62" y="22"/>
                </a:cxn>
                <a:cxn ang="0">
                  <a:pos x="57" y="14"/>
                </a:cxn>
                <a:cxn ang="0">
                  <a:pos x="66" y="14"/>
                </a:cxn>
                <a:cxn ang="0">
                  <a:pos x="66" y="55"/>
                </a:cxn>
                <a:cxn ang="0">
                  <a:pos x="80" y="55"/>
                </a:cxn>
                <a:cxn ang="0">
                  <a:pos x="82" y="32"/>
                </a:cxn>
                <a:cxn ang="0">
                  <a:pos x="85" y="14"/>
                </a:cxn>
                <a:cxn ang="0">
                  <a:pos x="82" y="63"/>
                </a:cxn>
                <a:cxn ang="0">
                  <a:pos x="102" y="37"/>
                </a:cxn>
                <a:cxn ang="0">
                  <a:pos x="98" y="43"/>
                </a:cxn>
                <a:cxn ang="0">
                  <a:pos x="102" y="47"/>
                </a:cxn>
                <a:cxn ang="0">
                  <a:pos x="97" y="34"/>
                </a:cxn>
                <a:cxn ang="0">
                  <a:pos x="102" y="22"/>
                </a:cxn>
                <a:cxn ang="0">
                  <a:pos x="99" y="29"/>
                </a:cxn>
                <a:cxn ang="0">
                  <a:pos x="100" y="14"/>
                </a:cxn>
                <a:cxn ang="0">
                  <a:pos x="102" y="55"/>
                </a:cxn>
                <a:cxn ang="0">
                  <a:pos x="93" y="45"/>
                </a:cxn>
                <a:cxn ang="0">
                  <a:pos x="121" y="14"/>
                </a:cxn>
                <a:cxn ang="0">
                  <a:pos x="115" y="55"/>
                </a:cxn>
                <a:cxn ang="0">
                  <a:pos x="117" y="32"/>
                </a:cxn>
                <a:cxn ang="0">
                  <a:pos x="138" y="37"/>
                </a:cxn>
                <a:cxn ang="0">
                  <a:pos x="133" y="43"/>
                </a:cxn>
                <a:cxn ang="0">
                  <a:pos x="138" y="47"/>
                </a:cxn>
                <a:cxn ang="0">
                  <a:pos x="132" y="34"/>
                </a:cxn>
                <a:cxn ang="0">
                  <a:pos x="138" y="22"/>
                </a:cxn>
                <a:cxn ang="0">
                  <a:pos x="134" y="29"/>
                </a:cxn>
                <a:cxn ang="0">
                  <a:pos x="136" y="14"/>
                </a:cxn>
                <a:cxn ang="0">
                  <a:pos x="138" y="55"/>
                </a:cxn>
                <a:cxn ang="0">
                  <a:pos x="129" y="45"/>
                </a:cxn>
                <a:cxn ang="0">
                  <a:pos x="155" y="50"/>
                </a:cxn>
                <a:cxn ang="0">
                  <a:pos x="155" y="19"/>
                </a:cxn>
                <a:cxn ang="0">
                  <a:pos x="162" y="55"/>
                </a:cxn>
                <a:cxn ang="0">
                  <a:pos x="153" y="55"/>
                </a:cxn>
                <a:cxn ang="0">
                  <a:pos x="153" y="14"/>
                </a:cxn>
                <a:cxn ang="0">
                  <a:pos x="162" y="0"/>
                </a:cxn>
              </a:cxnLst>
              <a:rect l="0" t="0" r="r" b="b"/>
              <a:pathLst>
                <a:path w="162" h="65">
                  <a:moveTo>
                    <a:pt x="5" y="47"/>
                  </a:moveTo>
                  <a:cubicBezTo>
                    <a:pt x="5" y="49"/>
                    <a:pt x="6" y="50"/>
                    <a:pt x="8" y="50"/>
                  </a:cubicBezTo>
                  <a:cubicBezTo>
                    <a:pt x="9" y="50"/>
                    <a:pt x="10" y="49"/>
                    <a:pt x="10" y="4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8" y="19"/>
                  </a:cubicBezTo>
                  <a:cubicBezTo>
                    <a:pt x="6" y="19"/>
                    <a:pt x="5" y="20"/>
                    <a:pt x="5" y="22"/>
                  </a:cubicBezTo>
                  <a:lnTo>
                    <a:pt x="5" y="47"/>
                  </a:lnTo>
                  <a:close/>
                  <a:moveTo>
                    <a:pt x="15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9" y="54"/>
                    <a:pt x="8" y="55"/>
                    <a:pt x="6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2" y="14"/>
                    <a:pt x="6" y="14"/>
                  </a:cubicBezTo>
                  <a:cubicBezTo>
                    <a:pt x="8" y="14"/>
                    <a:pt x="10" y="14"/>
                    <a:pt x="10" y="1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55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7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4"/>
                    <a:pt x="26" y="14"/>
                    <a:pt x="28" y="14"/>
                  </a:cubicBezTo>
                  <a:cubicBezTo>
                    <a:pt x="32" y="14"/>
                    <a:pt x="34" y="17"/>
                    <a:pt x="34" y="2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22"/>
                    <a:pt x="29" y="22"/>
                    <a:pt x="29" y="22"/>
                  </a:cubicBezTo>
                  <a:close/>
                  <a:moveTo>
                    <a:pt x="48" y="37"/>
                  </a:moveTo>
                  <a:cubicBezTo>
                    <a:pt x="47" y="37"/>
                    <a:pt x="47" y="37"/>
                    <a:pt x="46" y="38"/>
                  </a:cubicBezTo>
                  <a:cubicBezTo>
                    <a:pt x="46" y="38"/>
                    <a:pt x="45" y="38"/>
                    <a:pt x="45" y="39"/>
                  </a:cubicBezTo>
                  <a:cubicBezTo>
                    <a:pt x="43" y="40"/>
                    <a:pt x="43" y="41"/>
                    <a:pt x="43" y="43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9"/>
                    <a:pt x="44" y="50"/>
                    <a:pt x="45" y="50"/>
                  </a:cubicBezTo>
                  <a:cubicBezTo>
                    <a:pt x="47" y="50"/>
                    <a:pt x="48" y="49"/>
                    <a:pt x="48" y="47"/>
                  </a:cubicBezTo>
                  <a:lnTo>
                    <a:pt x="48" y="37"/>
                  </a:lnTo>
                  <a:close/>
                  <a:moveTo>
                    <a:pt x="38" y="42"/>
                  </a:moveTo>
                  <a:cubicBezTo>
                    <a:pt x="38" y="39"/>
                    <a:pt x="40" y="37"/>
                    <a:pt x="42" y="34"/>
                  </a:cubicBezTo>
                  <a:cubicBezTo>
                    <a:pt x="43" y="34"/>
                    <a:pt x="44" y="33"/>
                    <a:pt x="45" y="32"/>
                  </a:cubicBezTo>
                  <a:cubicBezTo>
                    <a:pt x="46" y="32"/>
                    <a:pt x="47" y="31"/>
                    <a:pt x="48" y="31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0"/>
                    <a:pt x="47" y="19"/>
                    <a:pt x="46" y="19"/>
                  </a:cubicBezTo>
                  <a:cubicBezTo>
                    <a:pt x="44" y="19"/>
                    <a:pt x="43" y="20"/>
                    <a:pt x="43" y="22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17"/>
                    <a:pt x="41" y="14"/>
                    <a:pt x="46" y="14"/>
                  </a:cubicBezTo>
                  <a:cubicBezTo>
                    <a:pt x="50" y="14"/>
                    <a:pt x="52" y="17"/>
                    <a:pt x="52" y="24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7" y="54"/>
                    <a:pt x="46" y="55"/>
                    <a:pt x="44" y="55"/>
                  </a:cubicBezTo>
                  <a:cubicBezTo>
                    <a:pt x="40" y="55"/>
                    <a:pt x="38" y="52"/>
                    <a:pt x="38" y="45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66" y="22"/>
                  </a:moveTo>
                  <a:cubicBezTo>
                    <a:pt x="66" y="20"/>
                    <a:pt x="66" y="19"/>
                    <a:pt x="64" y="19"/>
                  </a:cubicBezTo>
                  <a:cubicBezTo>
                    <a:pt x="63" y="19"/>
                    <a:pt x="62" y="20"/>
                    <a:pt x="62" y="22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3" y="14"/>
                    <a:pt x="64" y="14"/>
                    <a:pt x="66" y="14"/>
                  </a:cubicBezTo>
                  <a:cubicBezTo>
                    <a:pt x="70" y="14"/>
                    <a:pt x="72" y="17"/>
                    <a:pt x="72" y="24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66" y="55"/>
                    <a:pt x="66" y="55"/>
                    <a:pt x="66" y="55"/>
                  </a:cubicBezTo>
                  <a:lnTo>
                    <a:pt x="66" y="22"/>
                  </a:lnTo>
                  <a:close/>
                  <a:moveTo>
                    <a:pt x="75" y="60"/>
                  </a:moveTo>
                  <a:cubicBezTo>
                    <a:pt x="78" y="60"/>
                    <a:pt x="79" y="58"/>
                    <a:pt x="80" y="55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4" y="59"/>
                    <a:pt x="83" y="61"/>
                    <a:pt x="82" y="63"/>
                  </a:cubicBezTo>
                  <a:cubicBezTo>
                    <a:pt x="80" y="64"/>
                    <a:pt x="78" y="65"/>
                    <a:pt x="75" y="65"/>
                  </a:cubicBezTo>
                  <a:lnTo>
                    <a:pt x="75" y="60"/>
                  </a:lnTo>
                  <a:close/>
                  <a:moveTo>
                    <a:pt x="102" y="37"/>
                  </a:moveTo>
                  <a:cubicBezTo>
                    <a:pt x="102" y="37"/>
                    <a:pt x="101" y="37"/>
                    <a:pt x="101" y="38"/>
                  </a:cubicBezTo>
                  <a:cubicBezTo>
                    <a:pt x="100" y="38"/>
                    <a:pt x="100" y="38"/>
                    <a:pt x="99" y="39"/>
                  </a:cubicBezTo>
                  <a:cubicBezTo>
                    <a:pt x="99" y="40"/>
                    <a:pt x="98" y="41"/>
                    <a:pt x="98" y="43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9"/>
                    <a:pt x="99" y="50"/>
                    <a:pt x="100" y="50"/>
                  </a:cubicBezTo>
                  <a:cubicBezTo>
                    <a:pt x="102" y="50"/>
                    <a:pt x="102" y="49"/>
                    <a:pt x="102" y="4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93" y="42"/>
                  </a:moveTo>
                  <a:cubicBezTo>
                    <a:pt x="93" y="39"/>
                    <a:pt x="94" y="37"/>
                    <a:pt x="97" y="34"/>
                  </a:cubicBezTo>
                  <a:cubicBezTo>
                    <a:pt x="98" y="34"/>
                    <a:pt x="99" y="33"/>
                    <a:pt x="100" y="32"/>
                  </a:cubicBezTo>
                  <a:cubicBezTo>
                    <a:pt x="101" y="32"/>
                    <a:pt x="102" y="31"/>
                    <a:pt x="102" y="3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0"/>
                    <a:pt x="102" y="19"/>
                    <a:pt x="100" y="19"/>
                  </a:cubicBezTo>
                  <a:cubicBezTo>
                    <a:pt x="99" y="19"/>
                    <a:pt x="99" y="20"/>
                    <a:pt x="99" y="22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7"/>
                    <a:pt x="96" y="14"/>
                    <a:pt x="100" y="14"/>
                  </a:cubicBezTo>
                  <a:cubicBezTo>
                    <a:pt x="105" y="14"/>
                    <a:pt x="108" y="17"/>
                    <a:pt x="108" y="24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2" y="55"/>
                    <a:pt x="102" y="55"/>
                    <a:pt x="102" y="55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4"/>
                    <a:pt x="101" y="55"/>
                    <a:pt x="99" y="55"/>
                  </a:cubicBezTo>
                  <a:cubicBezTo>
                    <a:pt x="95" y="55"/>
                    <a:pt x="93" y="52"/>
                    <a:pt x="93" y="45"/>
                  </a:cubicBezTo>
                  <a:lnTo>
                    <a:pt x="93" y="42"/>
                  </a:lnTo>
                  <a:close/>
                  <a:moveTo>
                    <a:pt x="119" y="32"/>
                  </a:moveTo>
                  <a:cubicBezTo>
                    <a:pt x="121" y="14"/>
                    <a:pt x="121" y="14"/>
                    <a:pt x="121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15" y="14"/>
                    <a:pt x="115" y="14"/>
                    <a:pt x="115" y="14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8" y="41"/>
                    <a:pt x="118" y="41"/>
                    <a:pt x="118" y="41"/>
                  </a:cubicBezTo>
                  <a:lnTo>
                    <a:pt x="119" y="32"/>
                  </a:lnTo>
                  <a:close/>
                  <a:moveTo>
                    <a:pt x="138" y="37"/>
                  </a:moveTo>
                  <a:cubicBezTo>
                    <a:pt x="138" y="37"/>
                    <a:pt x="137" y="37"/>
                    <a:pt x="136" y="38"/>
                  </a:cubicBezTo>
                  <a:cubicBezTo>
                    <a:pt x="136" y="38"/>
                    <a:pt x="136" y="38"/>
                    <a:pt x="135" y="39"/>
                  </a:cubicBezTo>
                  <a:cubicBezTo>
                    <a:pt x="134" y="40"/>
                    <a:pt x="133" y="41"/>
                    <a:pt x="133" y="43"/>
                  </a:cubicBezTo>
                  <a:cubicBezTo>
                    <a:pt x="133" y="47"/>
                    <a:pt x="133" y="47"/>
                    <a:pt x="133" y="47"/>
                  </a:cubicBezTo>
                  <a:cubicBezTo>
                    <a:pt x="133" y="49"/>
                    <a:pt x="134" y="50"/>
                    <a:pt x="136" y="50"/>
                  </a:cubicBezTo>
                  <a:cubicBezTo>
                    <a:pt x="137" y="50"/>
                    <a:pt x="138" y="49"/>
                    <a:pt x="138" y="47"/>
                  </a:cubicBezTo>
                  <a:lnTo>
                    <a:pt x="138" y="37"/>
                  </a:lnTo>
                  <a:close/>
                  <a:moveTo>
                    <a:pt x="129" y="42"/>
                  </a:moveTo>
                  <a:cubicBezTo>
                    <a:pt x="129" y="39"/>
                    <a:pt x="130" y="37"/>
                    <a:pt x="132" y="34"/>
                  </a:cubicBezTo>
                  <a:cubicBezTo>
                    <a:pt x="133" y="34"/>
                    <a:pt x="134" y="33"/>
                    <a:pt x="136" y="32"/>
                  </a:cubicBezTo>
                  <a:cubicBezTo>
                    <a:pt x="137" y="32"/>
                    <a:pt x="137" y="31"/>
                    <a:pt x="138" y="31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38" y="20"/>
                    <a:pt x="137" y="19"/>
                    <a:pt x="136" y="19"/>
                  </a:cubicBezTo>
                  <a:cubicBezTo>
                    <a:pt x="134" y="19"/>
                    <a:pt x="134" y="20"/>
                    <a:pt x="134" y="22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4"/>
                    <a:pt x="129" y="24"/>
                    <a:pt x="129" y="24"/>
                  </a:cubicBezTo>
                  <a:cubicBezTo>
                    <a:pt x="129" y="17"/>
                    <a:pt x="131" y="14"/>
                    <a:pt x="136" y="14"/>
                  </a:cubicBezTo>
                  <a:cubicBezTo>
                    <a:pt x="141" y="14"/>
                    <a:pt x="143" y="17"/>
                    <a:pt x="143" y="24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38" y="55"/>
                    <a:pt x="138" y="55"/>
                    <a:pt x="138" y="55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37" y="54"/>
                    <a:pt x="136" y="55"/>
                    <a:pt x="134" y="55"/>
                  </a:cubicBezTo>
                  <a:cubicBezTo>
                    <a:pt x="131" y="55"/>
                    <a:pt x="129" y="52"/>
                    <a:pt x="129" y="45"/>
                  </a:cubicBezTo>
                  <a:cubicBezTo>
                    <a:pt x="129" y="42"/>
                    <a:pt x="129" y="42"/>
                    <a:pt x="129" y="42"/>
                  </a:cubicBezTo>
                  <a:close/>
                  <a:moveTo>
                    <a:pt x="152" y="47"/>
                  </a:moveTo>
                  <a:cubicBezTo>
                    <a:pt x="152" y="49"/>
                    <a:pt x="153" y="50"/>
                    <a:pt x="155" y="50"/>
                  </a:cubicBezTo>
                  <a:cubicBezTo>
                    <a:pt x="156" y="50"/>
                    <a:pt x="157" y="49"/>
                    <a:pt x="157" y="47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7" y="20"/>
                    <a:pt x="156" y="19"/>
                    <a:pt x="155" y="19"/>
                  </a:cubicBezTo>
                  <a:cubicBezTo>
                    <a:pt x="153" y="19"/>
                    <a:pt x="152" y="20"/>
                    <a:pt x="152" y="22"/>
                  </a:cubicBezTo>
                  <a:lnTo>
                    <a:pt x="152" y="47"/>
                  </a:lnTo>
                  <a:close/>
                  <a:moveTo>
                    <a:pt x="162" y="55"/>
                  </a:moveTo>
                  <a:cubicBezTo>
                    <a:pt x="157" y="55"/>
                    <a:pt x="157" y="55"/>
                    <a:pt x="157" y="55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6" y="54"/>
                    <a:pt x="154" y="55"/>
                    <a:pt x="153" y="55"/>
                  </a:cubicBezTo>
                  <a:cubicBezTo>
                    <a:pt x="149" y="55"/>
                    <a:pt x="147" y="52"/>
                    <a:pt x="147" y="45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17"/>
                    <a:pt x="149" y="14"/>
                    <a:pt x="153" y="14"/>
                  </a:cubicBezTo>
                  <a:cubicBezTo>
                    <a:pt x="155" y="14"/>
                    <a:pt x="156" y="14"/>
                    <a:pt x="157" y="15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55"/>
                    <a:pt x="162" y="55"/>
                    <a:pt x="162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2003426" y="2155439"/>
              <a:ext cx="522288" cy="119063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9" y="15"/>
                </a:cxn>
                <a:cxn ang="0">
                  <a:pos x="2" y="56"/>
                </a:cxn>
                <a:cxn ang="0">
                  <a:pos x="21" y="37"/>
                </a:cxn>
                <a:cxn ang="0">
                  <a:pos x="16" y="48"/>
                </a:cxn>
                <a:cxn ang="0">
                  <a:pos x="12" y="43"/>
                </a:cxn>
                <a:cxn ang="0">
                  <a:pos x="21" y="23"/>
                </a:cxn>
                <a:cxn ang="0">
                  <a:pos x="13" y="30"/>
                </a:cxn>
                <a:cxn ang="0">
                  <a:pos x="26" y="56"/>
                </a:cxn>
                <a:cxn ang="0">
                  <a:pos x="12" y="46"/>
                </a:cxn>
                <a:cxn ang="0">
                  <a:pos x="37" y="40"/>
                </a:cxn>
                <a:cxn ang="0">
                  <a:pos x="40" y="48"/>
                </a:cxn>
                <a:cxn ang="0">
                  <a:pos x="38" y="33"/>
                </a:cxn>
                <a:cxn ang="0">
                  <a:pos x="36" y="23"/>
                </a:cxn>
                <a:cxn ang="0">
                  <a:pos x="38" y="15"/>
                </a:cxn>
                <a:cxn ang="0">
                  <a:pos x="40" y="54"/>
                </a:cxn>
                <a:cxn ang="0">
                  <a:pos x="47" y="15"/>
                </a:cxn>
                <a:cxn ang="0">
                  <a:pos x="57" y="5"/>
                </a:cxn>
                <a:cxn ang="0">
                  <a:pos x="56" y="20"/>
                </a:cxn>
                <a:cxn ang="0">
                  <a:pos x="49" y="20"/>
                </a:cxn>
                <a:cxn ang="0">
                  <a:pos x="69" y="31"/>
                </a:cxn>
                <a:cxn ang="0">
                  <a:pos x="64" y="31"/>
                </a:cxn>
                <a:cxn ang="0">
                  <a:pos x="69" y="40"/>
                </a:cxn>
                <a:cxn ang="0">
                  <a:pos x="59" y="46"/>
                </a:cxn>
                <a:cxn ang="0">
                  <a:pos x="74" y="36"/>
                </a:cxn>
                <a:cxn ang="0">
                  <a:pos x="78" y="15"/>
                </a:cxn>
                <a:cxn ang="0">
                  <a:pos x="86" y="15"/>
                </a:cxn>
                <a:cxn ang="0">
                  <a:pos x="86" y="51"/>
                </a:cxn>
                <a:cxn ang="0">
                  <a:pos x="77" y="20"/>
                </a:cxn>
                <a:cxn ang="0">
                  <a:pos x="96" y="40"/>
                </a:cxn>
                <a:cxn ang="0">
                  <a:pos x="99" y="48"/>
                </a:cxn>
                <a:cxn ang="0">
                  <a:pos x="96" y="33"/>
                </a:cxn>
                <a:cxn ang="0">
                  <a:pos x="95" y="23"/>
                </a:cxn>
                <a:cxn ang="0">
                  <a:pos x="97" y="15"/>
                </a:cxn>
                <a:cxn ang="0">
                  <a:pos x="99" y="54"/>
                </a:cxn>
                <a:cxn ang="0">
                  <a:pos x="113" y="8"/>
                </a:cxn>
                <a:cxn ang="0">
                  <a:pos x="113" y="8"/>
                </a:cxn>
                <a:cxn ang="0">
                  <a:pos x="113" y="15"/>
                </a:cxn>
                <a:cxn ang="0">
                  <a:pos x="130" y="56"/>
                </a:cxn>
                <a:cxn ang="0">
                  <a:pos x="142" y="38"/>
                </a:cxn>
                <a:cxn ang="0">
                  <a:pos x="141" y="51"/>
                </a:cxn>
                <a:cxn ang="0">
                  <a:pos x="138" y="36"/>
                </a:cxn>
                <a:cxn ang="0">
                  <a:pos x="141" y="20"/>
                </a:cxn>
                <a:cxn ang="0">
                  <a:pos x="134" y="24"/>
                </a:cxn>
                <a:cxn ang="0">
                  <a:pos x="143" y="56"/>
                </a:cxn>
                <a:cxn ang="0">
                  <a:pos x="134" y="43"/>
                </a:cxn>
                <a:cxn ang="0">
                  <a:pos x="161" y="56"/>
                </a:cxn>
                <a:cxn ang="0">
                  <a:pos x="158" y="33"/>
                </a:cxn>
                <a:cxn ang="0">
                  <a:pos x="177" y="38"/>
                </a:cxn>
                <a:cxn ang="0">
                  <a:pos x="177" y="51"/>
                </a:cxn>
                <a:cxn ang="0">
                  <a:pos x="173" y="36"/>
                </a:cxn>
                <a:cxn ang="0">
                  <a:pos x="177" y="20"/>
                </a:cxn>
                <a:cxn ang="0">
                  <a:pos x="170" y="24"/>
                </a:cxn>
                <a:cxn ang="0">
                  <a:pos x="179" y="56"/>
                </a:cxn>
                <a:cxn ang="0">
                  <a:pos x="169" y="43"/>
                </a:cxn>
              </a:cxnLst>
              <a:rect l="0" t="0" r="r" b="b"/>
              <a:pathLst>
                <a:path w="184" h="56">
                  <a:moveTo>
                    <a:pt x="0" y="15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4"/>
                    <a:pt x="4" y="0"/>
                    <a:pt x="10" y="0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7" y="5"/>
                    <a:pt x="6" y="6"/>
                    <a:pt x="6" y="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0" y="15"/>
                  </a:lnTo>
                  <a:close/>
                  <a:moveTo>
                    <a:pt x="21" y="37"/>
                  </a:moveTo>
                  <a:cubicBezTo>
                    <a:pt x="21" y="38"/>
                    <a:pt x="20" y="38"/>
                    <a:pt x="20" y="38"/>
                  </a:cubicBezTo>
                  <a:cubicBezTo>
                    <a:pt x="19" y="39"/>
                    <a:pt x="19" y="39"/>
                    <a:pt x="18" y="40"/>
                  </a:cubicBezTo>
                  <a:cubicBezTo>
                    <a:pt x="17" y="40"/>
                    <a:pt x="16" y="42"/>
                    <a:pt x="16" y="43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0"/>
                    <a:pt x="18" y="51"/>
                    <a:pt x="19" y="51"/>
                  </a:cubicBezTo>
                  <a:cubicBezTo>
                    <a:pt x="20" y="51"/>
                    <a:pt x="21" y="50"/>
                    <a:pt x="21" y="48"/>
                  </a:cubicBezTo>
                  <a:lnTo>
                    <a:pt x="21" y="37"/>
                  </a:lnTo>
                  <a:close/>
                  <a:moveTo>
                    <a:pt x="12" y="43"/>
                  </a:moveTo>
                  <a:cubicBezTo>
                    <a:pt x="12" y="40"/>
                    <a:pt x="13" y="37"/>
                    <a:pt x="15" y="36"/>
                  </a:cubicBezTo>
                  <a:cubicBezTo>
                    <a:pt x="17" y="34"/>
                    <a:pt x="18" y="34"/>
                    <a:pt x="19" y="33"/>
                  </a:cubicBezTo>
                  <a:cubicBezTo>
                    <a:pt x="20" y="33"/>
                    <a:pt x="21" y="32"/>
                    <a:pt x="21" y="32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1" y="20"/>
                    <a:pt x="19" y="20"/>
                  </a:cubicBezTo>
                  <a:cubicBezTo>
                    <a:pt x="18" y="20"/>
                    <a:pt x="17" y="20"/>
                    <a:pt x="17" y="23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5" y="15"/>
                    <a:pt x="19" y="15"/>
                  </a:cubicBezTo>
                  <a:cubicBezTo>
                    <a:pt x="24" y="15"/>
                    <a:pt x="26" y="18"/>
                    <a:pt x="26" y="24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5"/>
                    <a:pt x="19" y="56"/>
                    <a:pt x="18" y="56"/>
                  </a:cubicBezTo>
                  <a:cubicBezTo>
                    <a:pt x="14" y="56"/>
                    <a:pt x="12" y="52"/>
                    <a:pt x="12" y="46"/>
                  </a:cubicBezTo>
                  <a:lnTo>
                    <a:pt x="12" y="43"/>
                  </a:lnTo>
                  <a:close/>
                  <a:moveTo>
                    <a:pt x="40" y="37"/>
                  </a:moveTo>
                  <a:cubicBezTo>
                    <a:pt x="39" y="38"/>
                    <a:pt x="39" y="38"/>
                    <a:pt x="38" y="38"/>
                  </a:cubicBezTo>
                  <a:cubicBezTo>
                    <a:pt x="38" y="39"/>
                    <a:pt x="37" y="39"/>
                    <a:pt x="37" y="40"/>
                  </a:cubicBezTo>
                  <a:cubicBezTo>
                    <a:pt x="36" y="40"/>
                    <a:pt x="36" y="42"/>
                    <a:pt x="36" y="43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50"/>
                    <a:pt x="36" y="51"/>
                    <a:pt x="38" y="51"/>
                  </a:cubicBezTo>
                  <a:cubicBezTo>
                    <a:pt x="39" y="51"/>
                    <a:pt x="40" y="50"/>
                    <a:pt x="40" y="48"/>
                  </a:cubicBezTo>
                  <a:lnTo>
                    <a:pt x="40" y="37"/>
                  </a:lnTo>
                  <a:close/>
                  <a:moveTo>
                    <a:pt x="30" y="43"/>
                  </a:moveTo>
                  <a:cubicBezTo>
                    <a:pt x="30" y="40"/>
                    <a:pt x="32" y="37"/>
                    <a:pt x="34" y="36"/>
                  </a:cubicBezTo>
                  <a:cubicBezTo>
                    <a:pt x="36" y="34"/>
                    <a:pt x="37" y="34"/>
                    <a:pt x="38" y="33"/>
                  </a:cubicBezTo>
                  <a:cubicBezTo>
                    <a:pt x="39" y="33"/>
                    <a:pt x="39" y="32"/>
                    <a:pt x="40" y="3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0"/>
                    <a:pt x="39" y="20"/>
                    <a:pt x="38" y="20"/>
                  </a:cubicBezTo>
                  <a:cubicBezTo>
                    <a:pt x="37" y="20"/>
                    <a:pt x="36" y="20"/>
                    <a:pt x="36" y="23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8"/>
                    <a:pt x="33" y="15"/>
                    <a:pt x="38" y="15"/>
                  </a:cubicBezTo>
                  <a:cubicBezTo>
                    <a:pt x="43" y="15"/>
                    <a:pt x="45" y="18"/>
                    <a:pt x="45" y="24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5"/>
                    <a:pt x="38" y="56"/>
                    <a:pt x="37" y="56"/>
                  </a:cubicBezTo>
                  <a:cubicBezTo>
                    <a:pt x="33" y="56"/>
                    <a:pt x="30" y="52"/>
                    <a:pt x="30" y="46"/>
                  </a:cubicBezTo>
                  <a:cubicBezTo>
                    <a:pt x="30" y="43"/>
                    <a:pt x="30" y="43"/>
                    <a:pt x="30" y="43"/>
                  </a:cubicBezTo>
                  <a:close/>
                  <a:moveTo>
                    <a:pt x="47" y="15"/>
                  </a:moveTo>
                  <a:cubicBezTo>
                    <a:pt x="49" y="15"/>
                    <a:pt x="49" y="15"/>
                    <a:pt x="49" y="15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4"/>
                    <a:pt x="52" y="0"/>
                    <a:pt x="57" y="0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5" y="5"/>
                    <a:pt x="54" y="6"/>
                    <a:pt x="54" y="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7" y="20"/>
                    <a:pt x="47" y="20"/>
                    <a:pt x="47" y="20"/>
                  </a:cubicBezTo>
                  <a:lnTo>
                    <a:pt x="47" y="15"/>
                  </a:lnTo>
                  <a:close/>
                  <a:moveTo>
                    <a:pt x="64" y="31"/>
                  </a:moveTo>
                  <a:cubicBezTo>
                    <a:pt x="69" y="31"/>
                    <a:pt x="69" y="31"/>
                    <a:pt x="69" y="31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0"/>
                    <a:pt x="68" y="20"/>
                    <a:pt x="66" y="20"/>
                  </a:cubicBezTo>
                  <a:cubicBezTo>
                    <a:pt x="65" y="20"/>
                    <a:pt x="64" y="20"/>
                    <a:pt x="64" y="23"/>
                  </a:cubicBezTo>
                  <a:lnTo>
                    <a:pt x="64" y="31"/>
                  </a:lnTo>
                  <a:close/>
                  <a:moveTo>
                    <a:pt x="64" y="48"/>
                  </a:moveTo>
                  <a:cubicBezTo>
                    <a:pt x="64" y="50"/>
                    <a:pt x="65" y="51"/>
                    <a:pt x="66" y="51"/>
                  </a:cubicBezTo>
                  <a:cubicBezTo>
                    <a:pt x="68" y="51"/>
                    <a:pt x="69" y="50"/>
                    <a:pt x="69" y="48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53"/>
                    <a:pt x="71" y="56"/>
                    <a:pt x="66" y="56"/>
                  </a:cubicBezTo>
                  <a:cubicBezTo>
                    <a:pt x="62" y="56"/>
                    <a:pt x="59" y="52"/>
                    <a:pt x="59" y="46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18"/>
                    <a:pt x="62" y="15"/>
                    <a:pt x="66" y="15"/>
                  </a:cubicBezTo>
                  <a:cubicBezTo>
                    <a:pt x="71" y="15"/>
                    <a:pt x="74" y="18"/>
                    <a:pt x="74" y="24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64" y="36"/>
                    <a:pt x="64" y="36"/>
                    <a:pt x="64" y="36"/>
                  </a:cubicBezTo>
                  <a:lnTo>
                    <a:pt x="64" y="48"/>
                  </a:lnTo>
                  <a:close/>
                  <a:moveTo>
                    <a:pt x="77" y="15"/>
                  </a:moveTo>
                  <a:cubicBezTo>
                    <a:pt x="78" y="15"/>
                    <a:pt x="78" y="15"/>
                    <a:pt x="78" y="15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0"/>
                    <a:pt x="84" y="51"/>
                    <a:pt x="86" y="51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0" y="56"/>
                    <a:pt x="78" y="52"/>
                    <a:pt x="78" y="46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7" y="20"/>
                    <a:pt x="77" y="20"/>
                    <a:pt x="77" y="20"/>
                  </a:cubicBezTo>
                  <a:lnTo>
                    <a:pt x="77" y="15"/>
                  </a:lnTo>
                  <a:close/>
                  <a:moveTo>
                    <a:pt x="99" y="37"/>
                  </a:moveTo>
                  <a:cubicBezTo>
                    <a:pt x="98" y="38"/>
                    <a:pt x="97" y="38"/>
                    <a:pt x="97" y="38"/>
                  </a:cubicBezTo>
                  <a:cubicBezTo>
                    <a:pt x="96" y="39"/>
                    <a:pt x="96" y="39"/>
                    <a:pt x="96" y="40"/>
                  </a:cubicBezTo>
                  <a:cubicBezTo>
                    <a:pt x="95" y="40"/>
                    <a:pt x="94" y="42"/>
                    <a:pt x="94" y="43"/>
                  </a:cubicBezTo>
                  <a:cubicBezTo>
                    <a:pt x="94" y="48"/>
                    <a:pt x="94" y="48"/>
                    <a:pt x="94" y="48"/>
                  </a:cubicBezTo>
                  <a:cubicBezTo>
                    <a:pt x="94" y="50"/>
                    <a:pt x="95" y="51"/>
                    <a:pt x="96" y="51"/>
                  </a:cubicBezTo>
                  <a:cubicBezTo>
                    <a:pt x="98" y="51"/>
                    <a:pt x="99" y="50"/>
                    <a:pt x="99" y="48"/>
                  </a:cubicBezTo>
                  <a:cubicBezTo>
                    <a:pt x="99" y="37"/>
                    <a:pt x="99" y="37"/>
                    <a:pt x="99" y="37"/>
                  </a:cubicBezTo>
                  <a:close/>
                  <a:moveTo>
                    <a:pt x="89" y="43"/>
                  </a:moveTo>
                  <a:cubicBezTo>
                    <a:pt x="89" y="40"/>
                    <a:pt x="91" y="37"/>
                    <a:pt x="93" y="36"/>
                  </a:cubicBezTo>
                  <a:cubicBezTo>
                    <a:pt x="94" y="34"/>
                    <a:pt x="95" y="34"/>
                    <a:pt x="96" y="33"/>
                  </a:cubicBezTo>
                  <a:cubicBezTo>
                    <a:pt x="97" y="33"/>
                    <a:pt x="98" y="32"/>
                    <a:pt x="99" y="32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9" y="20"/>
                    <a:pt x="98" y="20"/>
                    <a:pt x="97" y="20"/>
                  </a:cubicBezTo>
                  <a:cubicBezTo>
                    <a:pt x="95" y="20"/>
                    <a:pt x="95" y="20"/>
                    <a:pt x="95" y="23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18"/>
                    <a:pt x="92" y="15"/>
                    <a:pt x="97" y="15"/>
                  </a:cubicBezTo>
                  <a:cubicBezTo>
                    <a:pt x="101" y="15"/>
                    <a:pt x="104" y="18"/>
                    <a:pt x="104" y="24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8" y="55"/>
                    <a:pt x="97" y="56"/>
                    <a:pt x="95" y="56"/>
                  </a:cubicBezTo>
                  <a:cubicBezTo>
                    <a:pt x="91" y="56"/>
                    <a:pt x="89" y="52"/>
                    <a:pt x="89" y="46"/>
                  </a:cubicBezTo>
                  <a:cubicBezTo>
                    <a:pt x="89" y="43"/>
                    <a:pt x="89" y="43"/>
                    <a:pt x="89" y="43"/>
                  </a:cubicBezTo>
                  <a:close/>
                  <a:moveTo>
                    <a:pt x="113" y="8"/>
                  </a:moveTo>
                  <a:cubicBezTo>
                    <a:pt x="108" y="8"/>
                    <a:pt x="108" y="8"/>
                    <a:pt x="108" y="8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3" y="0"/>
                    <a:pt x="113" y="0"/>
                    <a:pt x="113" y="0"/>
                  </a:cubicBezTo>
                  <a:lnTo>
                    <a:pt x="113" y="8"/>
                  </a:lnTo>
                  <a:close/>
                  <a:moveTo>
                    <a:pt x="113" y="56"/>
                  </a:moveTo>
                  <a:cubicBezTo>
                    <a:pt x="108" y="56"/>
                    <a:pt x="108" y="56"/>
                    <a:pt x="108" y="56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13" y="15"/>
                    <a:pt x="113" y="15"/>
                    <a:pt x="113" y="15"/>
                  </a:cubicBezTo>
                  <a:lnTo>
                    <a:pt x="113" y="56"/>
                  </a:lnTo>
                  <a:close/>
                  <a:moveTo>
                    <a:pt x="125" y="0"/>
                  </a:moveTo>
                  <a:cubicBezTo>
                    <a:pt x="130" y="0"/>
                    <a:pt x="130" y="0"/>
                    <a:pt x="130" y="0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25" y="56"/>
                    <a:pt x="125" y="56"/>
                    <a:pt x="125" y="56"/>
                  </a:cubicBezTo>
                  <a:lnTo>
                    <a:pt x="125" y="0"/>
                  </a:lnTo>
                  <a:close/>
                  <a:moveTo>
                    <a:pt x="143" y="37"/>
                  </a:moveTo>
                  <a:cubicBezTo>
                    <a:pt x="143" y="38"/>
                    <a:pt x="142" y="38"/>
                    <a:pt x="142" y="38"/>
                  </a:cubicBezTo>
                  <a:cubicBezTo>
                    <a:pt x="141" y="39"/>
                    <a:pt x="141" y="39"/>
                    <a:pt x="140" y="40"/>
                  </a:cubicBezTo>
                  <a:cubicBezTo>
                    <a:pt x="139" y="40"/>
                    <a:pt x="139" y="42"/>
                    <a:pt x="139" y="43"/>
                  </a:cubicBezTo>
                  <a:cubicBezTo>
                    <a:pt x="139" y="48"/>
                    <a:pt x="139" y="48"/>
                    <a:pt x="139" y="48"/>
                  </a:cubicBezTo>
                  <a:cubicBezTo>
                    <a:pt x="139" y="50"/>
                    <a:pt x="139" y="51"/>
                    <a:pt x="141" y="51"/>
                  </a:cubicBezTo>
                  <a:cubicBezTo>
                    <a:pt x="142" y="51"/>
                    <a:pt x="143" y="50"/>
                    <a:pt x="143" y="48"/>
                  </a:cubicBezTo>
                  <a:lnTo>
                    <a:pt x="143" y="37"/>
                  </a:lnTo>
                  <a:close/>
                  <a:moveTo>
                    <a:pt x="134" y="43"/>
                  </a:moveTo>
                  <a:cubicBezTo>
                    <a:pt x="134" y="40"/>
                    <a:pt x="135" y="37"/>
                    <a:pt x="138" y="36"/>
                  </a:cubicBezTo>
                  <a:cubicBezTo>
                    <a:pt x="139" y="34"/>
                    <a:pt x="140" y="34"/>
                    <a:pt x="141" y="33"/>
                  </a:cubicBezTo>
                  <a:cubicBezTo>
                    <a:pt x="142" y="33"/>
                    <a:pt x="143" y="32"/>
                    <a:pt x="143" y="32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0"/>
                    <a:pt x="143" y="20"/>
                    <a:pt x="141" y="20"/>
                  </a:cubicBezTo>
                  <a:cubicBezTo>
                    <a:pt x="140" y="20"/>
                    <a:pt x="139" y="20"/>
                    <a:pt x="139" y="23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24"/>
                    <a:pt x="134" y="24"/>
                    <a:pt x="134" y="24"/>
                  </a:cubicBezTo>
                  <a:cubicBezTo>
                    <a:pt x="134" y="18"/>
                    <a:pt x="137" y="15"/>
                    <a:pt x="141" y="15"/>
                  </a:cubicBezTo>
                  <a:cubicBezTo>
                    <a:pt x="146" y="15"/>
                    <a:pt x="148" y="18"/>
                    <a:pt x="148" y="24"/>
                  </a:cubicBezTo>
                  <a:cubicBezTo>
                    <a:pt x="148" y="56"/>
                    <a:pt x="148" y="56"/>
                    <a:pt x="148" y="56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3" y="54"/>
                    <a:pt x="143" y="54"/>
                    <a:pt x="143" y="54"/>
                  </a:cubicBezTo>
                  <a:cubicBezTo>
                    <a:pt x="143" y="55"/>
                    <a:pt x="141" y="56"/>
                    <a:pt x="139" y="56"/>
                  </a:cubicBezTo>
                  <a:cubicBezTo>
                    <a:pt x="136" y="56"/>
                    <a:pt x="134" y="52"/>
                    <a:pt x="134" y="46"/>
                  </a:cubicBezTo>
                  <a:cubicBezTo>
                    <a:pt x="134" y="43"/>
                    <a:pt x="134" y="43"/>
                    <a:pt x="134" y="43"/>
                  </a:cubicBezTo>
                  <a:close/>
                  <a:moveTo>
                    <a:pt x="160" y="33"/>
                  </a:moveTo>
                  <a:cubicBezTo>
                    <a:pt x="162" y="15"/>
                    <a:pt x="162" y="15"/>
                    <a:pt x="162" y="15"/>
                  </a:cubicBezTo>
                  <a:cubicBezTo>
                    <a:pt x="167" y="15"/>
                    <a:pt x="167" y="15"/>
                    <a:pt x="167" y="15"/>
                  </a:cubicBezTo>
                  <a:cubicBezTo>
                    <a:pt x="161" y="56"/>
                    <a:pt x="161" y="56"/>
                    <a:pt x="161" y="56"/>
                  </a:cubicBezTo>
                  <a:cubicBezTo>
                    <a:pt x="156" y="56"/>
                    <a:pt x="156" y="56"/>
                    <a:pt x="156" y="56"/>
                  </a:cubicBezTo>
                  <a:cubicBezTo>
                    <a:pt x="151" y="15"/>
                    <a:pt x="151" y="15"/>
                    <a:pt x="151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59" y="42"/>
                    <a:pt x="159" y="42"/>
                    <a:pt x="159" y="42"/>
                  </a:cubicBezTo>
                  <a:lnTo>
                    <a:pt x="160" y="33"/>
                  </a:lnTo>
                  <a:close/>
                  <a:moveTo>
                    <a:pt x="179" y="37"/>
                  </a:moveTo>
                  <a:cubicBezTo>
                    <a:pt x="178" y="38"/>
                    <a:pt x="178" y="38"/>
                    <a:pt x="177" y="38"/>
                  </a:cubicBezTo>
                  <a:cubicBezTo>
                    <a:pt x="177" y="39"/>
                    <a:pt x="176" y="39"/>
                    <a:pt x="175" y="40"/>
                  </a:cubicBezTo>
                  <a:cubicBezTo>
                    <a:pt x="174" y="40"/>
                    <a:pt x="174" y="42"/>
                    <a:pt x="174" y="43"/>
                  </a:cubicBezTo>
                  <a:cubicBezTo>
                    <a:pt x="174" y="48"/>
                    <a:pt x="174" y="48"/>
                    <a:pt x="174" y="48"/>
                  </a:cubicBezTo>
                  <a:cubicBezTo>
                    <a:pt x="174" y="50"/>
                    <a:pt x="175" y="51"/>
                    <a:pt x="177" y="51"/>
                  </a:cubicBezTo>
                  <a:cubicBezTo>
                    <a:pt x="178" y="51"/>
                    <a:pt x="179" y="50"/>
                    <a:pt x="179" y="48"/>
                  </a:cubicBezTo>
                  <a:lnTo>
                    <a:pt x="179" y="37"/>
                  </a:lnTo>
                  <a:close/>
                  <a:moveTo>
                    <a:pt x="169" y="43"/>
                  </a:moveTo>
                  <a:cubicBezTo>
                    <a:pt x="169" y="40"/>
                    <a:pt x="170" y="37"/>
                    <a:pt x="173" y="36"/>
                  </a:cubicBezTo>
                  <a:cubicBezTo>
                    <a:pt x="174" y="34"/>
                    <a:pt x="175" y="34"/>
                    <a:pt x="177" y="33"/>
                  </a:cubicBezTo>
                  <a:cubicBezTo>
                    <a:pt x="178" y="33"/>
                    <a:pt x="178" y="32"/>
                    <a:pt x="179" y="32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9" y="20"/>
                    <a:pt x="178" y="20"/>
                    <a:pt x="177" y="20"/>
                  </a:cubicBezTo>
                  <a:cubicBezTo>
                    <a:pt x="175" y="20"/>
                    <a:pt x="175" y="20"/>
                    <a:pt x="175" y="23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0" y="18"/>
                    <a:pt x="172" y="15"/>
                    <a:pt x="177" y="15"/>
                  </a:cubicBezTo>
                  <a:cubicBezTo>
                    <a:pt x="182" y="15"/>
                    <a:pt x="184" y="18"/>
                    <a:pt x="184" y="24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79" y="54"/>
                    <a:pt x="179" y="54"/>
                    <a:pt x="179" y="54"/>
                  </a:cubicBezTo>
                  <a:cubicBezTo>
                    <a:pt x="178" y="55"/>
                    <a:pt x="177" y="56"/>
                    <a:pt x="175" y="56"/>
                  </a:cubicBezTo>
                  <a:cubicBezTo>
                    <a:pt x="171" y="56"/>
                    <a:pt x="169" y="52"/>
                    <a:pt x="169" y="46"/>
                  </a:cubicBezTo>
                  <a:cubicBezTo>
                    <a:pt x="169" y="43"/>
                    <a:pt x="169" y="43"/>
                    <a:pt x="169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1344614" y="2649550"/>
              <a:ext cx="187325" cy="327422"/>
            </a:xfrm>
            <a:custGeom>
              <a:avLst/>
              <a:gdLst/>
              <a:ahLst/>
              <a:cxnLst>
                <a:cxn ang="0">
                  <a:pos x="23" y="149"/>
                </a:cxn>
                <a:cxn ang="0">
                  <a:pos x="48" y="145"/>
                </a:cxn>
                <a:cxn ang="0">
                  <a:pos x="0" y="149"/>
                </a:cxn>
                <a:cxn ang="0">
                  <a:pos x="24" y="140"/>
                </a:cxn>
                <a:cxn ang="0">
                  <a:pos x="53" y="152"/>
                </a:cxn>
                <a:cxn ang="0">
                  <a:pos x="0" y="154"/>
                </a:cxn>
                <a:cxn ang="0">
                  <a:pos x="39" y="129"/>
                </a:cxn>
                <a:cxn ang="0">
                  <a:pos x="51" y="129"/>
                </a:cxn>
                <a:cxn ang="0">
                  <a:pos x="43" y="135"/>
                </a:cxn>
                <a:cxn ang="0">
                  <a:pos x="31" y="126"/>
                </a:cxn>
                <a:cxn ang="0">
                  <a:pos x="23" y="130"/>
                </a:cxn>
                <a:cxn ang="0">
                  <a:pos x="24" y="135"/>
                </a:cxn>
                <a:cxn ang="0">
                  <a:pos x="56" y="121"/>
                </a:cxn>
                <a:cxn ang="0">
                  <a:pos x="56" y="130"/>
                </a:cxn>
                <a:cxn ang="0">
                  <a:pos x="61" y="117"/>
                </a:cxn>
                <a:cxn ang="0">
                  <a:pos x="15" y="113"/>
                </a:cxn>
                <a:cxn ang="0">
                  <a:pos x="33" y="109"/>
                </a:cxn>
                <a:cxn ang="0">
                  <a:pos x="56" y="108"/>
                </a:cxn>
                <a:cxn ang="0">
                  <a:pos x="61" y="117"/>
                </a:cxn>
                <a:cxn ang="0">
                  <a:pos x="39" y="93"/>
                </a:cxn>
                <a:cxn ang="0">
                  <a:pos x="51" y="93"/>
                </a:cxn>
                <a:cxn ang="0">
                  <a:pos x="43" y="99"/>
                </a:cxn>
                <a:cxn ang="0">
                  <a:pos x="31" y="90"/>
                </a:cxn>
                <a:cxn ang="0">
                  <a:pos x="23" y="94"/>
                </a:cxn>
                <a:cxn ang="0">
                  <a:pos x="24" y="99"/>
                </a:cxn>
                <a:cxn ang="0">
                  <a:pos x="56" y="85"/>
                </a:cxn>
                <a:cxn ang="0">
                  <a:pos x="56" y="94"/>
                </a:cxn>
                <a:cxn ang="0">
                  <a:pos x="16" y="76"/>
                </a:cxn>
                <a:cxn ang="0">
                  <a:pos x="20" y="73"/>
                </a:cxn>
                <a:cxn ang="0">
                  <a:pos x="56" y="81"/>
                </a:cxn>
                <a:cxn ang="0">
                  <a:pos x="16" y="76"/>
                </a:cxn>
                <a:cxn ang="0">
                  <a:pos x="56" y="64"/>
                </a:cxn>
                <a:cxn ang="0">
                  <a:pos x="37" y="51"/>
                </a:cxn>
                <a:cxn ang="0">
                  <a:pos x="43" y="55"/>
                </a:cxn>
                <a:cxn ang="0">
                  <a:pos x="48" y="51"/>
                </a:cxn>
                <a:cxn ang="0">
                  <a:pos x="35" y="57"/>
                </a:cxn>
                <a:cxn ang="0">
                  <a:pos x="23" y="51"/>
                </a:cxn>
                <a:cxn ang="0">
                  <a:pos x="30" y="55"/>
                </a:cxn>
                <a:cxn ang="0">
                  <a:pos x="15" y="53"/>
                </a:cxn>
                <a:cxn ang="0">
                  <a:pos x="56" y="51"/>
                </a:cxn>
                <a:cxn ang="0">
                  <a:pos x="46" y="61"/>
                </a:cxn>
                <a:cxn ang="0">
                  <a:pos x="0" y="37"/>
                </a:cxn>
                <a:cxn ang="0">
                  <a:pos x="0" y="42"/>
                </a:cxn>
                <a:cxn ang="0">
                  <a:pos x="39" y="27"/>
                </a:cxn>
                <a:cxn ang="0">
                  <a:pos x="51" y="26"/>
                </a:cxn>
                <a:cxn ang="0">
                  <a:pos x="43" y="34"/>
                </a:cxn>
                <a:cxn ang="0">
                  <a:pos x="31" y="24"/>
                </a:cxn>
                <a:cxn ang="0">
                  <a:pos x="23" y="28"/>
                </a:cxn>
                <a:cxn ang="0">
                  <a:pos x="24" y="33"/>
                </a:cxn>
                <a:cxn ang="0">
                  <a:pos x="56" y="19"/>
                </a:cxn>
                <a:cxn ang="0">
                  <a:pos x="56" y="28"/>
                </a:cxn>
                <a:cxn ang="0">
                  <a:pos x="37" y="5"/>
                </a:cxn>
                <a:cxn ang="0">
                  <a:pos x="43" y="10"/>
                </a:cxn>
                <a:cxn ang="0">
                  <a:pos x="48" y="5"/>
                </a:cxn>
                <a:cxn ang="0">
                  <a:pos x="35" y="11"/>
                </a:cxn>
                <a:cxn ang="0">
                  <a:pos x="23" y="5"/>
                </a:cxn>
                <a:cxn ang="0">
                  <a:pos x="30" y="9"/>
                </a:cxn>
                <a:cxn ang="0">
                  <a:pos x="15" y="7"/>
                </a:cxn>
                <a:cxn ang="0">
                  <a:pos x="56" y="5"/>
                </a:cxn>
                <a:cxn ang="0">
                  <a:pos x="46" y="14"/>
                </a:cxn>
              </a:cxnLst>
              <a:rect l="0" t="0" r="r" b="b"/>
              <a:pathLst>
                <a:path w="66" h="154">
                  <a:moveTo>
                    <a:pt x="23" y="145"/>
                  </a:moveTo>
                  <a:cubicBezTo>
                    <a:pt x="20" y="145"/>
                    <a:pt x="20" y="145"/>
                    <a:pt x="20" y="147"/>
                  </a:cubicBezTo>
                  <a:cubicBezTo>
                    <a:pt x="20" y="149"/>
                    <a:pt x="20" y="149"/>
                    <a:pt x="23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50" y="149"/>
                    <a:pt x="51" y="149"/>
                    <a:pt x="51" y="147"/>
                  </a:cubicBezTo>
                  <a:cubicBezTo>
                    <a:pt x="51" y="145"/>
                    <a:pt x="50" y="145"/>
                    <a:pt x="48" y="145"/>
                  </a:cubicBezTo>
                  <a:lnTo>
                    <a:pt x="23" y="145"/>
                  </a:lnTo>
                  <a:close/>
                  <a:moveTo>
                    <a:pt x="0" y="154"/>
                  </a:moveTo>
                  <a:cubicBezTo>
                    <a:pt x="0" y="149"/>
                    <a:pt x="0" y="149"/>
                    <a:pt x="0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5" y="149"/>
                    <a:pt x="15" y="148"/>
                    <a:pt x="15" y="145"/>
                  </a:cubicBezTo>
                  <a:cubicBezTo>
                    <a:pt x="15" y="141"/>
                    <a:pt x="17" y="140"/>
                    <a:pt x="24" y="140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52" y="140"/>
                    <a:pt x="56" y="142"/>
                    <a:pt x="56" y="146"/>
                  </a:cubicBezTo>
                  <a:cubicBezTo>
                    <a:pt x="56" y="149"/>
                    <a:pt x="55" y="150"/>
                    <a:pt x="53" y="152"/>
                  </a:cubicBezTo>
                  <a:cubicBezTo>
                    <a:pt x="56" y="152"/>
                    <a:pt x="56" y="152"/>
                    <a:pt x="56" y="152"/>
                  </a:cubicBezTo>
                  <a:cubicBezTo>
                    <a:pt x="56" y="154"/>
                    <a:pt x="56" y="154"/>
                    <a:pt x="56" y="154"/>
                  </a:cubicBezTo>
                  <a:lnTo>
                    <a:pt x="0" y="154"/>
                  </a:lnTo>
                  <a:close/>
                  <a:moveTo>
                    <a:pt x="37" y="126"/>
                  </a:moveTo>
                  <a:cubicBezTo>
                    <a:pt x="38" y="126"/>
                    <a:pt x="38" y="127"/>
                    <a:pt x="38" y="127"/>
                  </a:cubicBezTo>
                  <a:cubicBezTo>
                    <a:pt x="39" y="128"/>
                    <a:pt x="39" y="129"/>
                    <a:pt x="39" y="129"/>
                  </a:cubicBezTo>
                  <a:cubicBezTo>
                    <a:pt x="40" y="130"/>
                    <a:pt x="42" y="131"/>
                    <a:pt x="43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50" y="131"/>
                    <a:pt x="51" y="130"/>
                    <a:pt x="51" y="129"/>
                  </a:cubicBezTo>
                  <a:cubicBezTo>
                    <a:pt x="51" y="127"/>
                    <a:pt x="50" y="126"/>
                    <a:pt x="48" y="126"/>
                  </a:cubicBezTo>
                  <a:cubicBezTo>
                    <a:pt x="37" y="126"/>
                    <a:pt x="37" y="126"/>
                    <a:pt x="37" y="126"/>
                  </a:cubicBezTo>
                  <a:close/>
                  <a:moveTo>
                    <a:pt x="43" y="135"/>
                  </a:moveTo>
                  <a:cubicBezTo>
                    <a:pt x="39" y="135"/>
                    <a:pt x="37" y="134"/>
                    <a:pt x="35" y="132"/>
                  </a:cubicBezTo>
                  <a:cubicBezTo>
                    <a:pt x="34" y="131"/>
                    <a:pt x="34" y="129"/>
                    <a:pt x="33" y="129"/>
                  </a:cubicBezTo>
                  <a:cubicBezTo>
                    <a:pt x="33" y="127"/>
                    <a:pt x="32" y="126"/>
                    <a:pt x="31" y="126"/>
                  </a:cubicBezTo>
                  <a:cubicBezTo>
                    <a:pt x="23" y="126"/>
                    <a:pt x="23" y="126"/>
                    <a:pt x="23" y="126"/>
                  </a:cubicBezTo>
                  <a:cubicBezTo>
                    <a:pt x="20" y="126"/>
                    <a:pt x="20" y="126"/>
                    <a:pt x="20" y="128"/>
                  </a:cubicBezTo>
                  <a:cubicBezTo>
                    <a:pt x="20" y="130"/>
                    <a:pt x="20" y="130"/>
                    <a:pt x="23" y="130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24" y="135"/>
                    <a:pt x="24" y="135"/>
                    <a:pt x="24" y="135"/>
                  </a:cubicBezTo>
                  <a:cubicBezTo>
                    <a:pt x="17" y="135"/>
                    <a:pt x="15" y="132"/>
                    <a:pt x="15" y="128"/>
                  </a:cubicBezTo>
                  <a:cubicBezTo>
                    <a:pt x="15" y="123"/>
                    <a:pt x="17" y="121"/>
                    <a:pt x="24" y="12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26"/>
                    <a:pt x="56" y="126"/>
                    <a:pt x="56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5" y="126"/>
                    <a:pt x="56" y="128"/>
                    <a:pt x="56" y="130"/>
                  </a:cubicBezTo>
                  <a:cubicBezTo>
                    <a:pt x="56" y="134"/>
                    <a:pt x="52" y="135"/>
                    <a:pt x="46" y="135"/>
                  </a:cubicBezTo>
                  <a:cubicBezTo>
                    <a:pt x="43" y="135"/>
                    <a:pt x="43" y="135"/>
                    <a:pt x="43" y="135"/>
                  </a:cubicBezTo>
                  <a:close/>
                  <a:moveTo>
                    <a:pt x="61" y="117"/>
                  </a:moveTo>
                  <a:cubicBezTo>
                    <a:pt x="60" y="114"/>
                    <a:pt x="59" y="113"/>
                    <a:pt x="56" y="112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33" y="111"/>
                    <a:pt x="33" y="111"/>
                    <a:pt x="33" y="111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3" y="109"/>
                    <a:pt x="33" y="109"/>
                    <a:pt x="33" y="109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59" y="108"/>
                    <a:pt x="61" y="109"/>
                    <a:pt x="63" y="111"/>
                  </a:cubicBezTo>
                  <a:cubicBezTo>
                    <a:pt x="65" y="113"/>
                    <a:pt x="66" y="115"/>
                    <a:pt x="66" y="117"/>
                  </a:cubicBezTo>
                  <a:cubicBezTo>
                    <a:pt x="61" y="117"/>
                    <a:pt x="61" y="117"/>
                    <a:pt x="61" y="117"/>
                  </a:cubicBezTo>
                  <a:close/>
                  <a:moveTo>
                    <a:pt x="37" y="90"/>
                  </a:moveTo>
                  <a:cubicBezTo>
                    <a:pt x="38" y="90"/>
                    <a:pt x="38" y="91"/>
                    <a:pt x="38" y="91"/>
                  </a:cubicBezTo>
                  <a:cubicBezTo>
                    <a:pt x="39" y="92"/>
                    <a:pt x="39" y="93"/>
                    <a:pt x="39" y="93"/>
                  </a:cubicBezTo>
                  <a:cubicBezTo>
                    <a:pt x="40" y="94"/>
                    <a:pt x="42" y="95"/>
                    <a:pt x="43" y="95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50" y="95"/>
                    <a:pt x="51" y="94"/>
                    <a:pt x="51" y="93"/>
                  </a:cubicBezTo>
                  <a:cubicBezTo>
                    <a:pt x="51" y="91"/>
                    <a:pt x="50" y="90"/>
                    <a:pt x="48" y="90"/>
                  </a:cubicBezTo>
                  <a:cubicBezTo>
                    <a:pt x="37" y="90"/>
                    <a:pt x="37" y="90"/>
                    <a:pt x="37" y="90"/>
                  </a:cubicBezTo>
                  <a:close/>
                  <a:moveTo>
                    <a:pt x="43" y="99"/>
                  </a:moveTo>
                  <a:cubicBezTo>
                    <a:pt x="39" y="99"/>
                    <a:pt x="37" y="98"/>
                    <a:pt x="35" y="96"/>
                  </a:cubicBezTo>
                  <a:cubicBezTo>
                    <a:pt x="34" y="95"/>
                    <a:pt x="34" y="93"/>
                    <a:pt x="33" y="93"/>
                  </a:cubicBezTo>
                  <a:cubicBezTo>
                    <a:pt x="33" y="91"/>
                    <a:pt x="32" y="90"/>
                    <a:pt x="31" y="90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0" y="90"/>
                    <a:pt x="20" y="90"/>
                    <a:pt x="20" y="92"/>
                  </a:cubicBezTo>
                  <a:cubicBezTo>
                    <a:pt x="20" y="94"/>
                    <a:pt x="20" y="94"/>
                    <a:pt x="23" y="94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17" y="99"/>
                    <a:pt x="15" y="96"/>
                    <a:pt x="15" y="92"/>
                  </a:cubicBezTo>
                  <a:cubicBezTo>
                    <a:pt x="15" y="87"/>
                    <a:pt x="17" y="85"/>
                    <a:pt x="24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5" y="90"/>
                    <a:pt x="56" y="92"/>
                    <a:pt x="56" y="94"/>
                  </a:cubicBezTo>
                  <a:cubicBezTo>
                    <a:pt x="56" y="98"/>
                    <a:pt x="52" y="99"/>
                    <a:pt x="46" y="99"/>
                  </a:cubicBezTo>
                  <a:cubicBezTo>
                    <a:pt x="43" y="99"/>
                    <a:pt x="43" y="99"/>
                    <a:pt x="43" y="99"/>
                  </a:cubicBezTo>
                  <a:close/>
                  <a:moveTo>
                    <a:pt x="16" y="76"/>
                  </a:moveTo>
                  <a:cubicBezTo>
                    <a:pt x="15" y="75"/>
                    <a:pt x="15" y="74"/>
                    <a:pt x="15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3"/>
                    <a:pt x="20" y="73"/>
                  </a:cubicBezTo>
                  <a:cubicBezTo>
                    <a:pt x="20" y="75"/>
                    <a:pt x="20" y="76"/>
                    <a:pt x="23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6" y="76"/>
                    <a:pt x="16" y="76"/>
                    <a:pt x="16" y="76"/>
                  </a:cubicBezTo>
                  <a:close/>
                  <a:moveTo>
                    <a:pt x="0" y="69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6" y="69"/>
                    <a:pt x="56" y="69"/>
                    <a:pt x="56" y="69"/>
                  </a:cubicBezTo>
                  <a:lnTo>
                    <a:pt x="0" y="69"/>
                  </a:lnTo>
                  <a:close/>
                  <a:moveTo>
                    <a:pt x="37" y="51"/>
                  </a:moveTo>
                  <a:cubicBezTo>
                    <a:pt x="38" y="52"/>
                    <a:pt x="38" y="52"/>
                    <a:pt x="38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40" y="55"/>
                    <a:pt x="42" y="55"/>
                    <a:pt x="43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50" y="55"/>
                    <a:pt x="51" y="55"/>
                    <a:pt x="51" y="53"/>
                  </a:cubicBezTo>
                  <a:cubicBezTo>
                    <a:pt x="51" y="52"/>
                    <a:pt x="50" y="51"/>
                    <a:pt x="48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3" y="61"/>
                  </a:moveTo>
                  <a:cubicBezTo>
                    <a:pt x="39" y="61"/>
                    <a:pt x="37" y="59"/>
                    <a:pt x="35" y="57"/>
                  </a:cubicBezTo>
                  <a:cubicBezTo>
                    <a:pt x="34" y="55"/>
                    <a:pt x="34" y="54"/>
                    <a:pt x="33" y="53"/>
                  </a:cubicBezTo>
                  <a:cubicBezTo>
                    <a:pt x="33" y="52"/>
                    <a:pt x="32" y="52"/>
                    <a:pt x="31" y="51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0" y="51"/>
                    <a:pt x="20" y="52"/>
                    <a:pt x="20" y="53"/>
                  </a:cubicBezTo>
                  <a:cubicBezTo>
                    <a:pt x="20" y="54"/>
                    <a:pt x="20" y="55"/>
                    <a:pt x="23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17" y="60"/>
                    <a:pt x="15" y="58"/>
                    <a:pt x="15" y="53"/>
                  </a:cubicBezTo>
                  <a:cubicBezTo>
                    <a:pt x="15" y="48"/>
                    <a:pt x="17" y="46"/>
                    <a:pt x="24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2"/>
                    <a:pt x="56" y="53"/>
                    <a:pt x="56" y="55"/>
                  </a:cubicBezTo>
                  <a:cubicBezTo>
                    <a:pt x="56" y="59"/>
                    <a:pt x="52" y="61"/>
                    <a:pt x="46" y="61"/>
                  </a:cubicBezTo>
                  <a:cubicBezTo>
                    <a:pt x="43" y="61"/>
                    <a:pt x="43" y="61"/>
                    <a:pt x="43" y="61"/>
                  </a:cubicBezTo>
                  <a:close/>
                  <a:moveTo>
                    <a:pt x="0" y="42"/>
                  </a:moveTo>
                  <a:cubicBezTo>
                    <a:pt x="0" y="37"/>
                    <a:pt x="0" y="37"/>
                    <a:pt x="0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42"/>
                    <a:pt x="56" y="42"/>
                    <a:pt x="56" y="42"/>
                  </a:cubicBezTo>
                  <a:lnTo>
                    <a:pt x="0" y="42"/>
                  </a:lnTo>
                  <a:close/>
                  <a:moveTo>
                    <a:pt x="37" y="24"/>
                  </a:moveTo>
                  <a:cubicBezTo>
                    <a:pt x="38" y="25"/>
                    <a:pt x="38" y="25"/>
                    <a:pt x="38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40" y="28"/>
                    <a:pt x="42" y="28"/>
                    <a:pt x="43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50" y="28"/>
                    <a:pt x="51" y="28"/>
                    <a:pt x="51" y="26"/>
                  </a:cubicBezTo>
                  <a:cubicBezTo>
                    <a:pt x="51" y="25"/>
                    <a:pt x="50" y="24"/>
                    <a:pt x="48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43" y="34"/>
                  </a:moveTo>
                  <a:cubicBezTo>
                    <a:pt x="39" y="34"/>
                    <a:pt x="37" y="32"/>
                    <a:pt x="35" y="30"/>
                  </a:cubicBezTo>
                  <a:cubicBezTo>
                    <a:pt x="34" y="28"/>
                    <a:pt x="34" y="27"/>
                    <a:pt x="33" y="26"/>
                  </a:cubicBezTo>
                  <a:cubicBezTo>
                    <a:pt x="33" y="26"/>
                    <a:pt x="32" y="25"/>
                    <a:pt x="31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0" y="24"/>
                    <a:pt x="20" y="25"/>
                    <a:pt x="20" y="26"/>
                  </a:cubicBezTo>
                  <a:cubicBezTo>
                    <a:pt x="20" y="27"/>
                    <a:pt x="20" y="28"/>
                    <a:pt x="23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7" y="33"/>
                    <a:pt x="15" y="31"/>
                    <a:pt x="15" y="26"/>
                  </a:cubicBezTo>
                  <a:cubicBezTo>
                    <a:pt x="15" y="22"/>
                    <a:pt x="17" y="19"/>
                    <a:pt x="24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5"/>
                    <a:pt x="56" y="26"/>
                    <a:pt x="56" y="28"/>
                  </a:cubicBezTo>
                  <a:cubicBezTo>
                    <a:pt x="56" y="32"/>
                    <a:pt x="52" y="34"/>
                    <a:pt x="46" y="34"/>
                  </a:cubicBezTo>
                  <a:cubicBezTo>
                    <a:pt x="43" y="34"/>
                    <a:pt x="43" y="34"/>
                    <a:pt x="43" y="34"/>
                  </a:cubicBezTo>
                  <a:close/>
                  <a:moveTo>
                    <a:pt x="37" y="5"/>
                  </a:moveTo>
                  <a:cubicBezTo>
                    <a:pt x="38" y="5"/>
                    <a:pt x="38" y="7"/>
                    <a:pt x="38" y="7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9"/>
                    <a:pt x="42" y="10"/>
                    <a:pt x="43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50" y="10"/>
                    <a:pt x="51" y="9"/>
                    <a:pt x="51" y="8"/>
                  </a:cubicBezTo>
                  <a:cubicBezTo>
                    <a:pt x="51" y="6"/>
                    <a:pt x="50" y="5"/>
                    <a:pt x="48" y="5"/>
                  </a:cubicBezTo>
                  <a:lnTo>
                    <a:pt x="37" y="5"/>
                  </a:lnTo>
                  <a:close/>
                  <a:moveTo>
                    <a:pt x="43" y="14"/>
                  </a:moveTo>
                  <a:cubicBezTo>
                    <a:pt x="39" y="14"/>
                    <a:pt x="37" y="13"/>
                    <a:pt x="35" y="11"/>
                  </a:cubicBezTo>
                  <a:cubicBezTo>
                    <a:pt x="34" y="10"/>
                    <a:pt x="34" y="9"/>
                    <a:pt x="33" y="8"/>
                  </a:cubicBezTo>
                  <a:cubicBezTo>
                    <a:pt x="33" y="7"/>
                    <a:pt x="32" y="6"/>
                    <a:pt x="31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20" y="9"/>
                    <a:pt x="20" y="9"/>
                    <a:pt x="23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7" y="14"/>
                    <a:pt x="15" y="12"/>
                    <a:pt x="15" y="7"/>
                  </a:cubicBezTo>
                  <a:cubicBezTo>
                    <a:pt x="15" y="3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5" y="6"/>
                    <a:pt x="56" y="7"/>
                    <a:pt x="56" y="9"/>
                  </a:cubicBezTo>
                  <a:cubicBezTo>
                    <a:pt x="56" y="13"/>
                    <a:pt x="52" y="14"/>
                    <a:pt x="46" y="14"/>
                  </a:cubicBezTo>
                  <a:cubicBezTo>
                    <a:pt x="43" y="14"/>
                    <a:pt x="43" y="14"/>
                    <a:pt x="43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2998788" y="3655627"/>
              <a:ext cx="414338" cy="138113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0" y="14"/>
                </a:cxn>
                <a:cxn ang="0">
                  <a:pos x="9" y="14"/>
                </a:cxn>
                <a:cxn ang="0">
                  <a:pos x="10" y="56"/>
                </a:cxn>
                <a:cxn ang="0">
                  <a:pos x="27" y="38"/>
                </a:cxn>
                <a:cxn ang="0">
                  <a:pos x="24" y="48"/>
                </a:cxn>
                <a:cxn ang="0">
                  <a:pos x="29" y="37"/>
                </a:cxn>
                <a:cxn ang="0">
                  <a:pos x="26" y="33"/>
                </a:cxn>
                <a:cxn ang="0">
                  <a:pos x="27" y="19"/>
                </a:cxn>
                <a:cxn ang="0">
                  <a:pos x="20" y="30"/>
                </a:cxn>
                <a:cxn ang="0">
                  <a:pos x="34" y="24"/>
                </a:cxn>
                <a:cxn ang="0">
                  <a:pos x="29" y="53"/>
                </a:cxn>
                <a:cxn ang="0">
                  <a:pos x="19" y="43"/>
                </a:cxn>
                <a:cxn ang="0">
                  <a:pos x="39" y="0"/>
                </a:cxn>
                <a:cxn ang="0">
                  <a:pos x="35" y="60"/>
                </a:cxn>
                <a:cxn ang="0">
                  <a:pos x="44" y="14"/>
                </a:cxn>
                <a:cxn ang="0">
                  <a:pos x="35" y="60"/>
                </a:cxn>
                <a:cxn ang="0">
                  <a:pos x="48" y="0"/>
                </a:cxn>
                <a:cxn ang="0">
                  <a:pos x="53" y="56"/>
                </a:cxn>
                <a:cxn ang="0">
                  <a:pos x="53" y="14"/>
                </a:cxn>
                <a:cxn ang="0">
                  <a:pos x="63" y="19"/>
                </a:cxn>
                <a:cxn ang="0">
                  <a:pos x="66" y="34"/>
                </a:cxn>
                <a:cxn ang="0">
                  <a:pos x="57" y="45"/>
                </a:cxn>
                <a:cxn ang="0">
                  <a:pos x="62" y="48"/>
                </a:cxn>
                <a:cxn ang="0">
                  <a:pos x="66" y="44"/>
                </a:cxn>
                <a:cxn ang="0">
                  <a:pos x="63" y="14"/>
                </a:cxn>
                <a:cxn ang="0">
                  <a:pos x="66" y="28"/>
                </a:cxn>
                <a:cxn ang="0">
                  <a:pos x="83" y="14"/>
                </a:cxn>
                <a:cxn ang="0">
                  <a:pos x="87" y="14"/>
                </a:cxn>
                <a:cxn ang="0">
                  <a:pos x="87" y="19"/>
                </a:cxn>
                <a:cxn ang="0">
                  <a:pos x="90" y="56"/>
                </a:cxn>
                <a:cxn ang="0">
                  <a:pos x="81" y="19"/>
                </a:cxn>
                <a:cxn ang="0">
                  <a:pos x="101" y="51"/>
                </a:cxn>
                <a:cxn ang="0">
                  <a:pos x="108" y="14"/>
                </a:cxn>
                <a:cxn ang="0">
                  <a:pos x="103" y="54"/>
                </a:cxn>
                <a:cxn ang="0">
                  <a:pos x="94" y="14"/>
                </a:cxn>
                <a:cxn ang="0">
                  <a:pos x="113" y="0"/>
                </a:cxn>
                <a:cxn ang="0">
                  <a:pos x="118" y="29"/>
                </a:cxn>
                <a:cxn ang="0">
                  <a:pos x="122" y="35"/>
                </a:cxn>
                <a:cxn ang="0">
                  <a:pos x="118" y="41"/>
                </a:cxn>
                <a:cxn ang="0">
                  <a:pos x="113" y="56"/>
                </a:cxn>
                <a:cxn ang="0">
                  <a:pos x="141" y="31"/>
                </a:cxn>
                <a:cxn ang="0">
                  <a:pos x="136" y="22"/>
                </a:cxn>
                <a:cxn ang="0">
                  <a:pos x="139" y="51"/>
                </a:cxn>
                <a:cxn ang="0">
                  <a:pos x="146" y="40"/>
                </a:cxn>
                <a:cxn ang="0">
                  <a:pos x="131" y="46"/>
                </a:cxn>
                <a:cxn ang="0">
                  <a:pos x="146" y="24"/>
                </a:cxn>
                <a:cxn ang="0">
                  <a:pos x="136" y="48"/>
                </a:cxn>
              </a:cxnLst>
              <a:rect l="0" t="0" r="r" b="b"/>
              <a:pathLst>
                <a:path w="146" h="65">
                  <a:moveTo>
                    <a:pt x="10" y="22"/>
                  </a:moveTo>
                  <a:cubicBezTo>
                    <a:pt x="10" y="20"/>
                    <a:pt x="9" y="19"/>
                    <a:pt x="8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7" y="14"/>
                    <a:pt x="9" y="14"/>
                  </a:cubicBezTo>
                  <a:cubicBezTo>
                    <a:pt x="13" y="14"/>
                    <a:pt x="15" y="17"/>
                    <a:pt x="15" y="2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22"/>
                    <a:pt x="10" y="22"/>
                    <a:pt x="10" y="22"/>
                  </a:cubicBezTo>
                  <a:close/>
                  <a:moveTo>
                    <a:pt x="29" y="37"/>
                  </a:moveTo>
                  <a:cubicBezTo>
                    <a:pt x="28" y="37"/>
                    <a:pt x="28" y="38"/>
                    <a:pt x="27" y="38"/>
                  </a:cubicBezTo>
                  <a:cubicBezTo>
                    <a:pt x="27" y="38"/>
                    <a:pt x="26" y="39"/>
                    <a:pt x="26" y="39"/>
                  </a:cubicBezTo>
                  <a:cubicBezTo>
                    <a:pt x="24" y="40"/>
                    <a:pt x="24" y="41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5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cubicBezTo>
                    <a:pt x="29" y="37"/>
                    <a:pt x="29" y="37"/>
                    <a:pt x="29" y="37"/>
                  </a:cubicBezTo>
                  <a:close/>
                  <a:moveTo>
                    <a:pt x="19" y="43"/>
                  </a:moveTo>
                  <a:cubicBezTo>
                    <a:pt x="19" y="39"/>
                    <a:pt x="21" y="37"/>
                    <a:pt x="23" y="35"/>
                  </a:cubicBezTo>
                  <a:cubicBezTo>
                    <a:pt x="24" y="34"/>
                    <a:pt x="26" y="33"/>
                    <a:pt x="26" y="33"/>
                  </a:cubicBezTo>
                  <a:cubicBezTo>
                    <a:pt x="27" y="32"/>
                    <a:pt x="28" y="32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0"/>
                    <a:pt x="28" y="19"/>
                    <a:pt x="27" y="19"/>
                  </a:cubicBezTo>
                  <a:cubicBezTo>
                    <a:pt x="26" y="19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18"/>
                    <a:pt x="22" y="14"/>
                    <a:pt x="27" y="14"/>
                  </a:cubicBezTo>
                  <a:cubicBezTo>
                    <a:pt x="31" y="14"/>
                    <a:pt x="34" y="18"/>
                    <a:pt x="34" y="24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5"/>
                    <a:pt x="27" y="56"/>
                    <a:pt x="25" y="56"/>
                  </a:cubicBezTo>
                  <a:cubicBezTo>
                    <a:pt x="21" y="56"/>
                    <a:pt x="19" y="52"/>
                    <a:pt x="19" y="46"/>
                  </a:cubicBezTo>
                  <a:cubicBezTo>
                    <a:pt x="19" y="43"/>
                    <a:pt x="19" y="43"/>
                    <a:pt x="19" y="43"/>
                  </a:cubicBezTo>
                  <a:close/>
                  <a:moveTo>
                    <a:pt x="44" y="7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44" y="7"/>
                  </a:lnTo>
                  <a:close/>
                  <a:moveTo>
                    <a:pt x="35" y="60"/>
                  </a:moveTo>
                  <a:cubicBezTo>
                    <a:pt x="37" y="60"/>
                    <a:pt x="39" y="59"/>
                    <a:pt x="39" y="57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4" y="62"/>
                    <a:pt x="41" y="65"/>
                    <a:pt x="35" y="65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53" y="7"/>
                  </a:moveTo>
                  <a:cubicBezTo>
                    <a:pt x="48" y="7"/>
                    <a:pt x="48" y="7"/>
                    <a:pt x="48" y="7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3" y="0"/>
                    <a:pt x="53" y="0"/>
                    <a:pt x="53" y="0"/>
                  </a:cubicBezTo>
                  <a:lnTo>
                    <a:pt x="53" y="7"/>
                  </a:lnTo>
                  <a:close/>
                  <a:moveTo>
                    <a:pt x="53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53" y="14"/>
                    <a:pt x="53" y="14"/>
                    <a:pt x="53" y="14"/>
                  </a:cubicBezTo>
                  <a:lnTo>
                    <a:pt x="53" y="56"/>
                  </a:lnTo>
                  <a:close/>
                  <a:moveTo>
                    <a:pt x="66" y="22"/>
                  </a:moveTo>
                  <a:cubicBezTo>
                    <a:pt x="66" y="20"/>
                    <a:pt x="64" y="19"/>
                    <a:pt x="63" y="19"/>
                  </a:cubicBezTo>
                  <a:cubicBezTo>
                    <a:pt x="62" y="19"/>
                    <a:pt x="62" y="20"/>
                    <a:pt x="62" y="22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8"/>
                    <a:pt x="63" y="30"/>
                    <a:pt x="66" y="34"/>
                  </a:cubicBezTo>
                  <a:cubicBezTo>
                    <a:pt x="69" y="38"/>
                    <a:pt x="71" y="42"/>
                    <a:pt x="71" y="45"/>
                  </a:cubicBezTo>
                  <a:cubicBezTo>
                    <a:pt x="71" y="52"/>
                    <a:pt x="68" y="56"/>
                    <a:pt x="63" y="56"/>
                  </a:cubicBezTo>
                  <a:cubicBezTo>
                    <a:pt x="59" y="56"/>
                    <a:pt x="57" y="52"/>
                    <a:pt x="57" y="45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0"/>
                    <a:pt x="62" y="51"/>
                    <a:pt x="63" y="51"/>
                  </a:cubicBezTo>
                  <a:cubicBezTo>
                    <a:pt x="65" y="51"/>
                    <a:pt x="66" y="50"/>
                    <a:pt x="66" y="48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2"/>
                    <a:pt x="64" y="39"/>
                    <a:pt x="61" y="36"/>
                  </a:cubicBezTo>
                  <a:cubicBezTo>
                    <a:pt x="58" y="33"/>
                    <a:pt x="57" y="29"/>
                    <a:pt x="57" y="25"/>
                  </a:cubicBezTo>
                  <a:cubicBezTo>
                    <a:pt x="57" y="17"/>
                    <a:pt x="59" y="14"/>
                    <a:pt x="63" y="14"/>
                  </a:cubicBezTo>
                  <a:cubicBezTo>
                    <a:pt x="68" y="14"/>
                    <a:pt x="70" y="17"/>
                    <a:pt x="70" y="25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66" y="28"/>
                    <a:pt x="66" y="28"/>
                    <a:pt x="66" y="28"/>
                  </a:cubicBezTo>
                  <a:lnTo>
                    <a:pt x="66" y="22"/>
                  </a:lnTo>
                  <a:close/>
                  <a:moveTo>
                    <a:pt x="81" y="14"/>
                  </a:moveTo>
                  <a:cubicBezTo>
                    <a:pt x="83" y="14"/>
                    <a:pt x="83" y="14"/>
                    <a:pt x="83" y="1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50"/>
                    <a:pt x="89" y="51"/>
                    <a:pt x="90" y="51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85" y="56"/>
                    <a:pt x="83" y="52"/>
                    <a:pt x="83" y="46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4"/>
                    <a:pt x="81" y="14"/>
                    <a:pt x="81" y="14"/>
                  </a:cubicBezTo>
                  <a:close/>
                  <a:moveTo>
                    <a:pt x="99" y="48"/>
                  </a:moveTo>
                  <a:cubicBezTo>
                    <a:pt x="99" y="50"/>
                    <a:pt x="99" y="51"/>
                    <a:pt x="101" y="51"/>
                  </a:cubicBezTo>
                  <a:cubicBezTo>
                    <a:pt x="103" y="51"/>
                    <a:pt x="103" y="50"/>
                    <a:pt x="103" y="48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55"/>
                    <a:pt x="101" y="56"/>
                    <a:pt x="99" y="56"/>
                  </a:cubicBezTo>
                  <a:cubicBezTo>
                    <a:pt x="95" y="56"/>
                    <a:pt x="94" y="52"/>
                    <a:pt x="94" y="46"/>
                  </a:cubicBezTo>
                  <a:cubicBezTo>
                    <a:pt x="94" y="14"/>
                    <a:pt x="94" y="14"/>
                    <a:pt x="94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48"/>
                    <a:pt x="99" y="48"/>
                    <a:pt x="99" y="48"/>
                  </a:cubicBezTo>
                  <a:close/>
                  <a:moveTo>
                    <a:pt x="113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8" y="29"/>
                    <a:pt x="118" y="29"/>
                    <a:pt x="118" y="29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3" y="56"/>
                    <a:pt x="113" y="56"/>
                    <a:pt x="113" y="56"/>
                  </a:cubicBezTo>
                  <a:lnTo>
                    <a:pt x="113" y="0"/>
                  </a:lnTo>
                  <a:close/>
                  <a:moveTo>
                    <a:pt x="136" y="31"/>
                  </a:moveTo>
                  <a:cubicBezTo>
                    <a:pt x="141" y="31"/>
                    <a:pt x="141" y="31"/>
                    <a:pt x="141" y="31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0"/>
                    <a:pt x="140" y="19"/>
                    <a:pt x="139" y="19"/>
                  </a:cubicBezTo>
                  <a:cubicBezTo>
                    <a:pt x="137" y="19"/>
                    <a:pt x="136" y="20"/>
                    <a:pt x="136" y="22"/>
                  </a:cubicBezTo>
                  <a:lnTo>
                    <a:pt x="136" y="31"/>
                  </a:lnTo>
                  <a:close/>
                  <a:moveTo>
                    <a:pt x="136" y="48"/>
                  </a:moveTo>
                  <a:cubicBezTo>
                    <a:pt x="136" y="50"/>
                    <a:pt x="137" y="51"/>
                    <a:pt x="139" y="51"/>
                  </a:cubicBezTo>
                  <a:cubicBezTo>
                    <a:pt x="140" y="51"/>
                    <a:pt x="141" y="50"/>
                    <a:pt x="141" y="48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46" y="40"/>
                    <a:pt x="146" y="40"/>
                    <a:pt x="146" y="40"/>
                  </a:cubicBezTo>
                  <a:cubicBezTo>
                    <a:pt x="146" y="46"/>
                    <a:pt x="146" y="46"/>
                    <a:pt x="146" y="46"/>
                  </a:cubicBezTo>
                  <a:cubicBezTo>
                    <a:pt x="146" y="52"/>
                    <a:pt x="143" y="56"/>
                    <a:pt x="139" y="56"/>
                  </a:cubicBezTo>
                  <a:cubicBezTo>
                    <a:pt x="133" y="56"/>
                    <a:pt x="131" y="52"/>
                    <a:pt x="131" y="46"/>
                  </a:cubicBezTo>
                  <a:cubicBezTo>
                    <a:pt x="131" y="24"/>
                    <a:pt x="131" y="24"/>
                    <a:pt x="131" y="24"/>
                  </a:cubicBezTo>
                  <a:cubicBezTo>
                    <a:pt x="131" y="17"/>
                    <a:pt x="133" y="14"/>
                    <a:pt x="139" y="14"/>
                  </a:cubicBezTo>
                  <a:cubicBezTo>
                    <a:pt x="143" y="14"/>
                    <a:pt x="146" y="17"/>
                    <a:pt x="146" y="24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48"/>
                    <a:pt x="136" y="48"/>
                    <a:pt x="136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/>
          </p:nvSpPr>
          <p:spPr bwMode="auto">
            <a:xfrm>
              <a:off x="7881938" y="2630500"/>
              <a:ext cx="368300" cy="140494"/>
            </a:xfrm>
            <a:custGeom>
              <a:avLst/>
              <a:gdLst/>
              <a:ahLst/>
              <a:cxnLst>
                <a:cxn ang="0">
                  <a:pos x="4" y="23"/>
                </a:cxn>
                <a:cxn ang="0">
                  <a:pos x="10" y="48"/>
                </a:cxn>
                <a:cxn ang="0">
                  <a:pos x="7" y="56"/>
                </a:cxn>
                <a:cxn ang="0">
                  <a:pos x="7" y="15"/>
                </a:cxn>
                <a:cxn ang="0">
                  <a:pos x="29" y="23"/>
                </a:cxn>
                <a:cxn ang="0">
                  <a:pos x="24" y="48"/>
                </a:cxn>
                <a:cxn ang="0">
                  <a:pos x="29" y="23"/>
                </a:cxn>
                <a:cxn ang="0">
                  <a:pos x="24" y="17"/>
                </a:cxn>
                <a:cxn ang="0">
                  <a:pos x="33" y="46"/>
                </a:cxn>
                <a:cxn ang="0">
                  <a:pos x="21" y="56"/>
                </a:cxn>
                <a:cxn ang="0">
                  <a:pos x="43" y="17"/>
                </a:cxn>
                <a:cxn ang="0">
                  <a:pos x="45" y="20"/>
                </a:cxn>
                <a:cxn ang="0">
                  <a:pos x="38" y="56"/>
                </a:cxn>
                <a:cxn ang="0">
                  <a:pos x="43" y="17"/>
                </a:cxn>
                <a:cxn ang="0">
                  <a:pos x="50" y="0"/>
                </a:cxn>
                <a:cxn ang="0">
                  <a:pos x="54" y="56"/>
                </a:cxn>
                <a:cxn ang="0">
                  <a:pos x="54" y="15"/>
                </a:cxn>
                <a:cxn ang="0">
                  <a:pos x="66" y="50"/>
                </a:cxn>
                <a:cxn ang="0">
                  <a:pos x="66" y="20"/>
                </a:cxn>
                <a:cxn ang="0">
                  <a:pos x="66" y="61"/>
                </a:cxn>
                <a:cxn ang="0">
                  <a:pos x="65" y="55"/>
                </a:cxn>
                <a:cxn ang="0">
                  <a:pos x="65" y="15"/>
                </a:cxn>
                <a:cxn ang="0">
                  <a:pos x="74" y="15"/>
                </a:cxn>
                <a:cxn ang="0">
                  <a:pos x="59" y="58"/>
                </a:cxn>
                <a:cxn ang="0">
                  <a:pos x="88" y="37"/>
                </a:cxn>
                <a:cxn ang="0">
                  <a:pos x="83" y="44"/>
                </a:cxn>
                <a:cxn ang="0">
                  <a:pos x="88" y="48"/>
                </a:cxn>
                <a:cxn ang="0">
                  <a:pos x="81" y="36"/>
                </a:cxn>
                <a:cxn ang="0">
                  <a:pos x="88" y="23"/>
                </a:cxn>
                <a:cxn ang="0">
                  <a:pos x="83" y="30"/>
                </a:cxn>
                <a:cxn ang="0">
                  <a:pos x="85" y="15"/>
                </a:cxn>
                <a:cxn ang="0">
                  <a:pos x="88" y="56"/>
                </a:cxn>
                <a:cxn ang="0">
                  <a:pos x="78" y="46"/>
                </a:cxn>
                <a:cxn ang="0">
                  <a:pos x="104" y="51"/>
                </a:cxn>
                <a:cxn ang="0">
                  <a:pos x="104" y="20"/>
                </a:cxn>
                <a:cxn ang="0">
                  <a:pos x="111" y="56"/>
                </a:cxn>
                <a:cxn ang="0">
                  <a:pos x="102" y="56"/>
                </a:cxn>
                <a:cxn ang="0">
                  <a:pos x="102" y="15"/>
                </a:cxn>
                <a:cxn ang="0">
                  <a:pos x="111" y="0"/>
                </a:cxn>
                <a:cxn ang="0">
                  <a:pos x="124" y="39"/>
                </a:cxn>
                <a:cxn ang="0">
                  <a:pos x="120" y="48"/>
                </a:cxn>
                <a:cxn ang="0">
                  <a:pos x="125" y="37"/>
                </a:cxn>
                <a:cxn ang="0">
                  <a:pos x="122" y="34"/>
                </a:cxn>
                <a:cxn ang="0">
                  <a:pos x="123" y="20"/>
                </a:cxn>
                <a:cxn ang="0">
                  <a:pos x="116" y="30"/>
                </a:cxn>
                <a:cxn ang="0">
                  <a:pos x="130" y="25"/>
                </a:cxn>
                <a:cxn ang="0">
                  <a:pos x="125" y="54"/>
                </a:cxn>
                <a:cxn ang="0">
                  <a:pos x="116" y="43"/>
                </a:cxn>
              </a:cxnLst>
              <a:rect l="0" t="0" r="r" b="b"/>
              <a:pathLst>
                <a:path w="130" h="66">
                  <a:moveTo>
                    <a:pt x="10" y="23"/>
                  </a:moveTo>
                  <a:cubicBezTo>
                    <a:pt x="10" y="21"/>
                    <a:pt x="8" y="20"/>
                    <a:pt x="7" y="20"/>
                  </a:cubicBezTo>
                  <a:cubicBezTo>
                    <a:pt x="6" y="20"/>
                    <a:pt x="4" y="21"/>
                    <a:pt x="4" y="2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lnTo>
                    <a:pt x="10" y="23"/>
                  </a:lnTo>
                  <a:close/>
                  <a:moveTo>
                    <a:pt x="14" y="46"/>
                  </a:moveTo>
                  <a:cubicBezTo>
                    <a:pt x="14" y="53"/>
                    <a:pt x="12" y="56"/>
                    <a:pt x="7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2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lnTo>
                    <a:pt x="14" y="46"/>
                  </a:lnTo>
                  <a:close/>
                  <a:moveTo>
                    <a:pt x="29" y="23"/>
                  </a:moveTo>
                  <a:cubicBezTo>
                    <a:pt x="29" y="21"/>
                    <a:pt x="28" y="20"/>
                    <a:pt x="26" y="20"/>
                  </a:cubicBezTo>
                  <a:cubicBezTo>
                    <a:pt x="24" y="20"/>
                    <a:pt x="24" y="21"/>
                    <a:pt x="24" y="2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lnTo>
                    <a:pt x="29" y="23"/>
                  </a:lnTo>
                  <a:close/>
                  <a:moveTo>
                    <a:pt x="19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6"/>
                    <a:pt x="25" y="15"/>
                    <a:pt x="28" y="15"/>
                  </a:cubicBezTo>
                  <a:cubicBezTo>
                    <a:pt x="31" y="15"/>
                    <a:pt x="33" y="18"/>
                    <a:pt x="33" y="25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53"/>
                    <a:pt x="31" y="56"/>
                    <a:pt x="27" y="56"/>
                  </a:cubicBezTo>
                  <a:cubicBezTo>
                    <a:pt x="24" y="56"/>
                    <a:pt x="22" y="55"/>
                    <a:pt x="22" y="53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0"/>
                    <a:pt x="19" y="0"/>
                    <a:pt x="19" y="0"/>
                  </a:cubicBezTo>
                  <a:close/>
                  <a:moveTo>
                    <a:pt x="43" y="17"/>
                  </a:moveTo>
                  <a:cubicBezTo>
                    <a:pt x="43" y="16"/>
                    <a:pt x="44" y="15"/>
                    <a:pt x="47" y="15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3" y="20"/>
                    <a:pt x="43" y="21"/>
                    <a:pt x="43" y="23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7"/>
                    <a:pt x="43" y="17"/>
                    <a:pt x="43" y="17"/>
                  </a:cubicBezTo>
                  <a:close/>
                  <a:moveTo>
                    <a:pt x="54" y="8"/>
                  </a:moveTo>
                  <a:cubicBezTo>
                    <a:pt x="50" y="8"/>
                    <a:pt x="50" y="8"/>
                    <a:pt x="50" y="8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54" y="8"/>
                  </a:lnTo>
                  <a:close/>
                  <a:moveTo>
                    <a:pt x="54" y="56"/>
                  </a:moveTo>
                  <a:cubicBezTo>
                    <a:pt x="50" y="56"/>
                    <a:pt x="50" y="56"/>
                    <a:pt x="50" y="56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4" y="15"/>
                    <a:pt x="54" y="15"/>
                    <a:pt x="54" y="15"/>
                  </a:cubicBezTo>
                  <a:lnTo>
                    <a:pt x="54" y="56"/>
                  </a:lnTo>
                  <a:close/>
                  <a:moveTo>
                    <a:pt x="64" y="48"/>
                  </a:moveTo>
                  <a:cubicBezTo>
                    <a:pt x="64" y="49"/>
                    <a:pt x="65" y="50"/>
                    <a:pt x="66" y="50"/>
                  </a:cubicBezTo>
                  <a:cubicBezTo>
                    <a:pt x="68" y="50"/>
                    <a:pt x="69" y="49"/>
                    <a:pt x="69" y="48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1"/>
                    <a:pt x="68" y="20"/>
                    <a:pt x="66" y="20"/>
                  </a:cubicBezTo>
                  <a:cubicBezTo>
                    <a:pt x="65" y="20"/>
                    <a:pt x="64" y="21"/>
                    <a:pt x="64" y="23"/>
                  </a:cubicBezTo>
                  <a:lnTo>
                    <a:pt x="64" y="48"/>
                  </a:lnTo>
                  <a:close/>
                  <a:moveTo>
                    <a:pt x="66" y="61"/>
                  </a:moveTo>
                  <a:cubicBezTo>
                    <a:pt x="68" y="61"/>
                    <a:pt x="69" y="60"/>
                    <a:pt x="69" y="58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8" y="55"/>
                    <a:pt x="67" y="55"/>
                    <a:pt x="65" y="55"/>
                  </a:cubicBezTo>
                  <a:cubicBezTo>
                    <a:pt x="61" y="55"/>
                    <a:pt x="59" y="52"/>
                    <a:pt x="59" y="4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18"/>
                    <a:pt x="61" y="15"/>
                    <a:pt x="65" y="15"/>
                  </a:cubicBezTo>
                  <a:cubicBezTo>
                    <a:pt x="66" y="15"/>
                    <a:pt x="67" y="16"/>
                    <a:pt x="69" y="17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63"/>
                    <a:pt x="71" y="66"/>
                    <a:pt x="66" y="66"/>
                  </a:cubicBezTo>
                  <a:cubicBezTo>
                    <a:pt x="62" y="66"/>
                    <a:pt x="60" y="63"/>
                    <a:pt x="59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60"/>
                    <a:pt x="65" y="61"/>
                    <a:pt x="66" y="61"/>
                  </a:cubicBezTo>
                  <a:close/>
                  <a:moveTo>
                    <a:pt x="88" y="37"/>
                  </a:moveTo>
                  <a:cubicBezTo>
                    <a:pt x="87" y="38"/>
                    <a:pt x="87" y="38"/>
                    <a:pt x="86" y="39"/>
                  </a:cubicBezTo>
                  <a:cubicBezTo>
                    <a:pt x="85" y="39"/>
                    <a:pt x="85" y="39"/>
                    <a:pt x="84" y="40"/>
                  </a:cubicBezTo>
                  <a:cubicBezTo>
                    <a:pt x="83" y="40"/>
                    <a:pt x="83" y="42"/>
                    <a:pt x="83" y="44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50"/>
                    <a:pt x="84" y="51"/>
                    <a:pt x="85" y="51"/>
                  </a:cubicBezTo>
                  <a:cubicBezTo>
                    <a:pt x="87" y="51"/>
                    <a:pt x="88" y="50"/>
                    <a:pt x="88" y="48"/>
                  </a:cubicBezTo>
                  <a:lnTo>
                    <a:pt x="88" y="37"/>
                  </a:lnTo>
                  <a:close/>
                  <a:moveTo>
                    <a:pt x="78" y="43"/>
                  </a:moveTo>
                  <a:cubicBezTo>
                    <a:pt x="78" y="40"/>
                    <a:pt x="79" y="37"/>
                    <a:pt x="81" y="36"/>
                  </a:cubicBezTo>
                  <a:cubicBezTo>
                    <a:pt x="83" y="35"/>
                    <a:pt x="84" y="34"/>
                    <a:pt x="85" y="34"/>
                  </a:cubicBezTo>
                  <a:cubicBezTo>
                    <a:pt x="86" y="33"/>
                    <a:pt x="87" y="32"/>
                    <a:pt x="88" y="32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1"/>
                    <a:pt x="87" y="20"/>
                    <a:pt x="85" y="20"/>
                  </a:cubicBezTo>
                  <a:cubicBezTo>
                    <a:pt x="84" y="20"/>
                    <a:pt x="83" y="21"/>
                    <a:pt x="83" y="23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18"/>
                    <a:pt x="81" y="15"/>
                    <a:pt x="85" y="15"/>
                  </a:cubicBezTo>
                  <a:cubicBezTo>
                    <a:pt x="90" y="15"/>
                    <a:pt x="92" y="18"/>
                    <a:pt x="92" y="25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7" y="55"/>
                    <a:pt x="85" y="56"/>
                    <a:pt x="84" y="56"/>
                  </a:cubicBezTo>
                  <a:cubicBezTo>
                    <a:pt x="80" y="56"/>
                    <a:pt x="78" y="53"/>
                    <a:pt x="78" y="46"/>
                  </a:cubicBezTo>
                  <a:cubicBezTo>
                    <a:pt x="78" y="43"/>
                    <a:pt x="78" y="43"/>
                    <a:pt x="78" y="43"/>
                  </a:cubicBezTo>
                  <a:close/>
                  <a:moveTo>
                    <a:pt x="102" y="48"/>
                  </a:moveTo>
                  <a:cubicBezTo>
                    <a:pt x="102" y="50"/>
                    <a:pt x="102" y="51"/>
                    <a:pt x="104" y="51"/>
                  </a:cubicBezTo>
                  <a:cubicBezTo>
                    <a:pt x="106" y="51"/>
                    <a:pt x="106" y="50"/>
                    <a:pt x="106" y="48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106" y="21"/>
                    <a:pt x="106" y="20"/>
                    <a:pt x="104" y="20"/>
                  </a:cubicBezTo>
                  <a:cubicBezTo>
                    <a:pt x="102" y="20"/>
                    <a:pt x="102" y="21"/>
                    <a:pt x="102" y="23"/>
                  </a:cubicBezTo>
                  <a:lnTo>
                    <a:pt x="102" y="48"/>
                  </a:lnTo>
                  <a:close/>
                  <a:moveTo>
                    <a:pt x="111" y="56"/>
                  </a:moveTo>
                  <a:cubicBezTo>
                    <a:pt x="106" y="56"/>
                    <a:pt x="106" y="56"/>
                    <a:pt x="106" y="56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5" y="55"/>
                    <a:pt x="103" y="56"/>
                    <a:pt x="102" y="56"/>
                  </a:cubicBezTo>
                  <a:cubicBezTo>
                    <a:pt x="98" y="56"/>
                    <a:pt x="97" y="53"/>
                    <a:pt x="97" y="46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18"/>
                    <a:pt x="98" y="15"/>
                    <a:pt x="102" y="15"/>
                  </a:cubicBezTo>
                  <a:cubicBezTo>
                    <a:pt x="105" y="15"/>
                    <a:pt x="106" y="16"/>
                    <a:pt x="106" y="17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1" y="0"/>
                    <a:pt x="111" y="0"/>
                    <a:pt x="111" y="0"/>
                  </a:cubicBezTo>
                  <a:lnTo>
                    <a:pt x="111" y="56"/>
                  </a:lnTo>
                  <a:close/>
                  <a:moveTo>
                    <a:pt x="125" y="37"/>
                  </a:moveTo>
                  <a:cubicBezTo>
                    <a:pt x="125" y="38"/>
                    <a:pt x="124" y="38"/>
                    <a:pt x="124" y="39"/>
                  </a:cubicBezTo>
                  <a:cubicBezTo>
                    <a:pt x="123" y="39"/>
                    <a:pt x="122" y="39"/>
                    <a:pt x="122" y="40"/>
                  </a:cubicBezTo>
                  <a:cubicBezTo>
                    <a:pt x="121" y="40"/>
                    <a:pt x="120" y="42"/>
                    <a:pt x="120" y="44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50"/>
                    <a:pt x="121" y="51"/>
                    <a:pt x="122" y="51"/>
                  </a:cubicBezTo>
                  <a:cubicBezTo>
                    <a:pt x="124" y="51"/>
                    <a:pt x="125" y="50"/>
                    <a:pt x="125" y="48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16" y="43"/>
                  </a:moveTo>
                  <a:cubicBezTo>
                    <a:pt x="116" y="40"/>
                    <a:pt x="117" y="37"/>
                    <a:pt x="119" y="36"/>
                  </a:cubicBezTo>
                  <a:cubicBezTo>
                    <a:pt x="120" y="35"/>
                    <a:pt x="122" y="34"/>
                    <a:pt x="122" y="34"/>
                  </a:cubicBezTo>
                  <a:cubicBezTo>
                    <a:pt x="124" y="33"/>
                    <a:pt x="125" y="32"/>
                    <a:pt x="125" y="32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1"/>
                    <a:pt x="125" y="20"/>
                    <a:pt x="123" y="20"/>
                  </a:cubicBezTo>
                  <a:cubicBezTo>
                    <a:pt x="122" y="20"/>
                    <a:pt x="121" y="21"/>
                    <a:pt x="121" y="23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18"/>
                    <a:pt x="119" y="15"/>
                    <a:pt x="123" y="15"/>
                  </a:cubicBezTo>
                  <a:cubicBezTo>
                    <a:pt x="128" y="15"/>
                    <a:pt x="130" y="18"/>
                    <a:pt x="130" y="25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4"/>
                    <a:pt x="125" y="54"/>
                    <a:pt x="125" y="54"/>
                  </a:cubicBezTo>
                  <a:cubicBezTo>
                    <a:pt x="125" y="55"/>
                    <a:pt x="123" y="56"/>
                    <a:pt x="121" y="56"/>
                  </a:cubicBezTo>
                  <a:cubicBezTo>
                    <a:pt x="117" y="56"/>
                    <a:pt x="116" y="53"/>
                    <a:pt x="116" y="46"/>
                  </a:cubicBezTo>
                  <a:cubicBezTo>
                    <a:pt x="116" y="43"/>
                    <a:pt x="116" y="43"/>
                    <a:pt x="116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/>
          </p:nvSpPr>
          <p:spPr bwMode="auto">
            <a:xfrm>
              <a:off x="2422526" y="2528106"/>
              <a:ext cx="158750" cy="321469"/>
            </a:xfrm>
            <a:custGeom>
              <a:avLst/>
              <a:gdLst/>
              <a:ahLst/>
              <a:cxnLst>
                <a:cxn ang="0">
                  <a:pos x="33" y="147"/>
                </a:cxn>
                <a:cxn ang="0">
                  <a:pos x="15" y="135"/>
                </a:cxn>
                <a:cxn ang="0">
                  <a:pos x="56" y="141"/>
                </a:cxn>
                <a:cxn ang="0">
                  <a:pos x="56" y="147"/>
                </a:cxn>
                <a:cxn ang="0">
                  <a:pos x="22" y="123"/>
                </a:cxn>
                <a:cxn ang="0">
                  <a:pos x="48" y="128"/>
                </a:cxn>
                <a:cxn ang="0">
                  <a:pos x="22" y="123"/>
                </a:cxn>
                <a:cxn ang="0">
                  <a:pos x="46" y="133"/>
                </a:cxn>
                <a:cxn ang="0">
                  <a:pos x="24" y="118"/>
                </a:cxn>
                <a:cxn ang="0">
                  <a:pos x="8" y="128"/>
                </a:cxn>
                <a:cxn ang="0">
                  <a:pos x="8" y="132"/>
                </a:cxn>
                <a:cxn ang="0">
                  <a:pos x="8" y="119"/>
                </a:cxn>
                <a:cxn ang="0">
                  <a:pos x="22" y="106"/>
                </a:cxn>
                <a:cxn ang="0">
                  <a:pos x="26" y="110"/>
                </a:cxn>
                <a:cxn ang="0">
                  <a:pos x="56" y="107"/>
                </a:cxn>
                <a:cxn ang="0">
                  <a:pos x="43" y="110"/>
                </a:cxn>
                <a:cxn ang="0">
                  <a:pos x="48" y="106"/>
                </a:cxn>
                <a:cxn ang="0">
                  <a:pos x="25" y="114"/>
                </a:cxn>
                <a:cxn ang="0">
                  <a:pos x="29" y="101"/>
                </a:cxn>
                <a:cxn ang="0">
                  <a:pos x="15" y="97"/>
                </a:cxn>
                <a:cxn ang="0">
                  <a:pos x="50" y="92"/>
                </a:cxn>
                <a:cxn ang="0">
                  <a:pos x="56" y="97"/>
                </a:cxn>
                <a:cxn ang="0">
                  <a:pos x="19" y="97"/>
                </a:cxn>
                <a:cxn ang="0">
                  <a:pos x="19" y="73"/>
                </a:cxn>
                <a:cxn ang="0">
                  <a:pos x="50" y="73"/>
                </a:cxn>
                <a:cxn ang="0">
                  <a:pos x="46" y="66"/>
                </a:cxn>
                <a:cxn ang="0">
                  <a:pos x="24" y="80"/>
                </a:cxn>
                <a:cxn ang="0">
                  <a:pos x="46" y="66"/>
                </a:cxn>
                <a:cxn ang="0">
                  <a:pos x="12" y="75"/>
                </a:cxn>
                <a:cxn ang="0">
                  <a:pos x="12" y="69"/>
                </a:cxn>
                <a:cxn ang="0">
                  <a:pos x="12" y="66"/>
                </a:cxn>
                <a:cxn ang="0">
                  <a:pos x="19" y="54"/>
                </a:cxn>
                <a:cxn ang="0">
                  <a:pos x="56" y="61"/>
                </a:cxn>
                <a:cxn ang="0">
                  <a:pos x="16" y="56"/>
                </a:cxn>
                <a:cxn ang="0">
                  <a:pos x="56" y="47"/>
                </a:cxn>
                <a:cxn ang="0">
                  <a:pos x="22" y="33"/>
                </a:cxn>
                <a:cxn ang="0">
                  <a:pos x="48" y="37"/>
                </a:cxn>
                <a:cxn ang="0">
                  <a:pos x="22" y="33"/>
                </a:cxn>
                <a:cxn ang="0">
                  <a:pos x="46" y="42"/>
                </a:cxn>
                <a:cxn ang="0">
                  <a:pos x="24" y="28"/>
                </a:cxn>
                <a:cxn ang="0">
                  <a:pos x="8" y="38"/>
                </a:cxn>
                <a:cxn ang="0">
                  <a:pos x="8" y="41"/>
                </a:cxn>
                <a:cxn ang="0">
                  <a:pos x="8" y="28"/>
                </a:cxn>
                <a:cxn ang="0">
                  <a:pos x="22" y="4"/>
                </a:cxn>
                <a:cxn ang="0">
                  <a:pos x="56" y="9"/>
                </a:cxn>
                <a:cxn ang="0">
                  <a:pos x="19" y="16"/>
                </a:cxn>
                <a:cxn ang="0">
                  <a:pos x="56" y="23"/>
                </a:cxn>
                <a:cxn ang="0">
                  <a:pos x="16" y="19"/>
                </a:cxn>
                <a:cxn ang="0">
                  <a:pos x="15" y="5"/>
                </a:cxn>
                <a:cxn ang="0">
                  <a:pos x="56" y="4"/>
                </a:cxn>
              </a:cxnLst>
              <a:rect l="0" t="0" r="r" b="b"/>
              <a:pathLst>
                <a:path w="56" h="151">
                  <a:moveTo>
                    <a:pt x="0" y="151"/>
                  </a:moveTo>
                  <a:cubicBezTo>
                    <a:pt x="0" y="147"/>
                    <a:pt x="0" y="147"/>
                    <a:pt x="0" y="147"/>
                  </a:cubicBezTo>
                  <a:cubicBezTo>
                    <a:pt x="33" y="147"/>
                    <a:pt x="33" y="147"/>
                    <a:pt x="33" y="147"/>
                  </a:cubicBezTo>
                  <a:cubicBezTo>
                    <a:pt x="29" y="146"/>
                    <a:pt x="29" y="146"/>
                    <a:pt x="29" y="146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35" y="142"/>
                    <a:pt x="35" y="142"/>
                    <a:pt x="35" y="142"/>
                  </a:cubicBezTo>
                  <a:cubicBezTo>
                    <a:pt x="56" y="135"/>
                    <a:pt x="56" y="135"/>
                    <a:pt x="56" y="135"/>
                  </a:cubicBezTo>
                  <a:cubicBezTo>
                    <a:pt x="56" y="141"/>
                    <a:pt x="56" y="141"/>
                    <a:pt x="56" y="141"/>
                  </a:cubicBezTo>
                  <a:cubicBezTo>
                    <a:pt x="41" y="146"/>
                    <a:pt x="41" y="146"/>
                    <a:pt x="41" y="146"/>
                  </a:cubicBezTo>
                  <a:cubicBezTo>
                    <a:pt x="36" y="147"/>
                    <a:pt x="36" y="147"/>
                    <a:pt x="36" y="147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6" y="151"/>
                    <a:pt x="56" y="151"/>
                    <a:pt x="56" y="151"/>
                  </a:cubicBezTo>
                  <a:lnTo>
                    <a:pt x="0" y="151"/>
                  </a:lnTo>
                  <a:close/>
                  <a:moveTo>
                    <a:pt x="22" y="123"/>
                  </a:moveTo>
                  <a:cubicBezTo>
                    <a:pt x="20" y="123"/>
                    <a:pt x="19" y="124"/>
                    <a:pt x="19" y="125"/>
                  </a:cubicBezTo>
                  <a:cubicBezTo>
                    <a:pt x="19" y="127"/>
                    <a:pt x="20" y="128"/>
                    <a:pt x="22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50" y="128"/>
                    <a:pt x="50" y="127"/>
                    <a:pt x="50" y="125"/>
                  </a:cubicBezTo>
                  <a:cubicBezTo>
                    <a:pt x="50" y="124"/>
                    <a:pt x="50" y="123"/>
                    <a:pt x="48" y="123"/>
                  </a:cubicBezTo>
                  <a:lnTo>
                    <a:pt x="22" y="123"/>
                  </a:lnTo>
                  <a:close/>
                  <a:moveTo>
                    <a:pt x="46" y="118"/>
                  </a:moveTo>
                  <a:cubicBezTo>
                    <a:pt x="52" y="118"/>
                    <a:pt x="56" y="121"/>
                    <a:pt x="56" y="125"/>
                  </a:cubicBezTo>
                  <a:cubicBezTo>
                    <a:pt x="56" y="130"/>
                    <a:pt x="52" y="133"/>
                    <a:pt x="46" y="133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17" y="133"/>
                    <a:pt x="15" y="130"/>
                    <a:pt x="15" y="125"/>
                  </a:cubicBezTo>
                  <a:cubicBezTo>
                    <a:pt x="15" y="121"/>
                    <a:pt x="17" y="118"/>
                    <a:pt x="24" y="118"/>
                  </a:cubicBezTo>
                  <a:lnTo>
                    <a:pt x="46" y="118"/>
                  </a:lnTo>
                  <a:close/>
                  <a:moveTo>
                    <a:pt x="8" y="132"/>
                  </a:moveTo>
                  <a:cubicBezTo>
                    <a:pt x="8" y="128"/>
                    <a:pt x="8" y="128"/>
                    <a:pt x="8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32"/>
                    <a:pt x="12" y="132"/>
                    <a:pt x="12" y="132"/>
                  </a:cubicBezTo>
                  <a:lnTo>
                    <a:pt x="8" y="132"/>
                  </a:lnTo>
                  <a:close/>
                  <a:moveTo>
                    <a:pt x="12" y="122"/>
                  </a:moveTo>
                  <a:cubicBezTo>
                    <a:pt x="8" y="122"/>
                    <a:pt x="8" y="122"/>
                    <a:pt x="8" y="122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12" y="119"/>
                    <a:pt x="12" y="119"/>
                    <a:pt x="12" y="119"/>
                  </a:cubicBezTo>
                  <a:lnTo>
                    <a:pt x="12" y="122"/>
                  </a:lnTo>
                  <a:close/>
                  <a:moveTo>
                    <a:pt x="22" y="106"/>
                  </a:moveTo>
                  <a:cubicBezTo>
                    <a:pt x="20" y="106"/>
                    <a:pt x="19" y="106"/>
                    <a:pt x="19" y="107"/>
                  </a:cubicBezTo>
                  <a:cubicBezTo>
                    <a:pt x="19" y="109"/>
                    <a:pt x="20" y="110"/>
                    <a:pt x="22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8" y="110"/>
                    <a:pt x="31" y="108"/>
                    <a:pt x="34" y="105"/>
                  </a:cubicBezTo>
                  <a:cubicBezTo>
                    <a:pt x="38" y="102"/>
                    <a:pt x="41" y="101"/>
                    <a:pt x="45" y="101"/>
                  </a:cubicBezTo>
                  <a:cubicBezTo>
                    <a:pt x="52" y="101"/>
                    <a:pt x="56" y="103"/>
                    <a:pt x="56" y="107"/>
                  </a:cubicBezTo>
                  <a:cubicBezTo>
                    <a:pt x="56" y="112"/>
                    <a:pt x="52" y="114"/>
                    <a:pt x="45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50" y="110"/>
                    <a:pt x="51" y="109"/>
                    <a:pt x="51" y="107"/>
                  </a:cubicBezTo>
                  <a:cubicBezTo>
                    <a:pt x="51" y="106"/>
                    <a:pt x="50" y="106"/>
                    <a:pt x="48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2" y="106"/>
                    <a:pt x="39" y="107"/>
                    <a:pt x="36" y="110"/>
                  </a:cubicBezTo>
                  <a:cubicBezTo>
                    <a:pt x="33" y="113"/>
                    <a:pt x="29" y="114"/>
                    <a:pt x="25" y="114"/>
                  </a:cubicBezTo>
                  <a:cubicBezTo>
                    <a:pt x="18" y="114"/>
                    <a:pt x="15" y="112"/>
                    <a:pt x="15" y="107"/>
                  </a:cubicBezTo>
                  <a:cubicBezTo>
                    <a:pt x="15" y="103"/>
                    <a:pt x="18" y="101"/>
                    <a:pt x="25" y="101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2" y="106"/>
                    <a:pt x="22" y="106"/>
                    <a:pt x="22" y="106"/>
                  </a:cubicBezTo>
                  <a:close/>
                  <a:moveTo>
                    <a:pt x="15" y="97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97"/>
                    <a:pt x="56" y="97"/>
                    <a:pt x="56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19" y="88"/>
                    <a:pt x="19" y="88"/>
                    <a:pt x="19" y="88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22" y="70"/>
                  </a:moveTo>
                  <a:cubicBezTo>
                    <a:pt x="20" y="70"/>
                    <a:pt x="19" y="71"/>
                    <a:pt x="19" y="73"/>
                  </a:cubicBezTo>
                  <a:cubicBezTo>
                    <a:pt x="19" y="74"/>
                    <a:pt x="20" y="75"/>
                    <a:pt x="22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50" y="75"/>
                    <a:pt x="50" y="74"/>
                    <a:pt x="50" y="73"/>
                  </a:cubicBezTo>
                  <a:cubicBezTo>
                    <a:pt x="50" y="71"/>
                    <a:pt x="50" y="70"/>
                    <a:pt x="48" y="70"/>
                  </a:cubicBezTo>
                  <a:lnTo>
                    <a:pt x="22" y="70"/>
                  </a:lnTo>
                  <a:close/>
                  <a:moveTo>
                    <a:pt x="46" y="66"/>
                  </a:moveTo>
                  <a:cubicBezTo>
                    <a:pt x="52" y="66"/>
                    <a:pt x="56" y="68"/>
                    <a:pt x="56" y="73"/>
                  </a:cubicBezTo>
                  <a:cubicBezTo>
                    <a:pt x="56" y="78"/>
                    <a:pt x="52" y="80"/>
                    <a:pt x="46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7" y="80"/>
                    <a:pt x="15" y="78"/>
                    <a:pt x="15" y="73"/>
                  </a:cubicBezTo>
                  <a:cubicBezTo>
                    <a:pt x="15" y="68"/>
                    <a:pt x="17" y="66"/>
                    <a:pt x="24" y="66"/>
                  </a:cubicBezTo>
                  <a:lnTo>
                    <a:pt x="46" y="66"/>
                  </a:lnTo>
                  <a:close/>
                  <a:moveTo>
                    <a:pt x="8" y="79"/>
                  </a:moveTo>
                  <a:cubicBezTo>
                    <a:pt x="8" y="75"/>
                    <a:pt x="8" y="75"/>
                    <a:pt x="8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2" y="79"/>
                    <a:pt x="12" y="79"/>
                    <a:pt x="12" y="79"/>
                  </a:cubicBezTo>
                  <a:lnTo>
                    <a:pt x="8" y="79"/>
                  </a:lnTo>
                  <a:close/>
                  <a:moveTo>
                    <a:pt x="12" y="69"/>
                  </a:moveTo>
                  <a:cubicBezTo>
                    <a:pt x="8" y="69"/>
                    <a:pt x="8" y="69"/>
                    <a:pt x="8" y="69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2" y="66"/>
                    <a:pt x="12" y="66"/>
                    <a:pt x="12" y="66"/>
                  </a:cubicBezTo>
                  <a:lnTo>
                    <a:pt x="12" y="69"/>
                  </a:lnTo>
                  <a:close/>
                  <a:moveTo>
                    <a:pt x="22" y="51"/>
                  </a:moveTo>
                  <a:cubicBezTo>
                    <a:pt x="20" y="51"/>
                    <a:pt x="19" y="52"/>
                    <a:pt x="19" y="54"/>
                  </a:cubicBezTo>
                  <a:cubicBezTo>
                    <a:pt x="19" y="56"/>
                    <a:pt x="20" y="56"/>
                    <a:pt x="22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6"/>
                    <a:pt x="15" y="55"/>
                    <a:pt x="15" y="52"/>
                  </a:cubicBezTo>
                  <a:cubicBezTo>
                    <a:pt x="15" y="48"/>
                    <a:pt x="17" y="47"/>
                    <a:pt x="24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22" y="51"/>
                    <a:pt x="22" y="51"/>
                    <a:pt x="22" y="51"/>
                  </a:cubicBezTo>
                  <a:close/>
                  <a:moveTo>
                    <a:pt x="22" y="33"/>
                  </a:moveTo>
                  <a:cubicBezTo>
                    <a:pt x="20" y="33"/>
                    <a:pt x="19" y="33"/>
                    <a:pt x="19" y="35"/>
                  </a:cubicBezTo>
                  <a:cubicBezTo>
                    <a:pt x="19" y="37"/>
                    <a:pt x="20" y="37"/>
                    <a:pt x="22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50" y="37"/>
                    <a:pt x="50" y="37"/>
                    <a:pt x="50" y="35"/>
                  </a:cubicBezTo>
                  <a:cubicBezTo>
                    <a:pt x="50" y="33"/>
                    <a:pt x="50" y="33"/>
                    <a:pt x="48" y="33"/>
                  </a:cubicBezTo>
                  <a:lnTo>
                    <a:pt x="22" y="33"/>
                  </a:lnTo>
                  <a:close/>
                  <a:moveTo>
                    <a:pt x="46" y="28"/>
                  </a:moveTo>
                  <a:cubicBezTo>
                    <a:pt x="52" y="28"/>
                    <a:pt x="56" y="30"/>
                    <a:pt x="56" y="35"/>
                  </a:cubicBezTo>
                  <a:cubicBezTo>
                    <a:pt x="56" y="40"/>
                    <a:pt x="52" y="42"/>
                    <a:pt x="46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7" y="42"/>
                    <a:pt x="15" y="40"/>
                    <a:pt x="15" y="35"/>
                  </a:cubicBezTo>
                  <a:cubicBezTo>
                    <a:pt x="15" y="30"/>
                    <a:pt x="17" y="28"/>
                    <a:pt x="24" y="28"/>
                  </a:cubicBezTo>
                  <a:lnTo>
                    <a:pt x="46" y="28"/>
                  </a:lnTo>
                  <a:close/>
                  <a:moveTo>
                    <a:pt x="8" y="41"/>
                  </a:moveTo>
                  <a:cubicBezTo>
                    <a:pt x="8" y="38"/>
                    <a:pt x="8" y="38"/>
                    <a:pt x="8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41"/>
                    <a:pt x="12" y="41"/>
                    <a:pt x="12" y="41"/>
                  </a:cubicBezTo>
                  <a:lnTo>
                    <a:pt x="8" y="41"/>
                  </a:lnTo>
                  <a:close/>
                  <a:moveTo>
                    <a:pt x="12" y="32"/>
                  </a:moveTo>
                  <a:cubicBezTo>
                    <a:pt x="8" y="32"/>
                    <a:pt x="8" y="32"/>
                    <a:pt x="8" y="32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12" y="28"/>
                    <a:pt x="12" y="28"/>
                    <a:pt x="12" y="28"/>
                  </a:cubicBezTo>
                  <a:lnTo>
                    <a:pt x="12" y="32"/>
                  </a:lnTo>
                  <a:close/>
                  <a:moveTo>
                    <a:pt x="22" y="4"/>
                  </a:moveTo>
                  <a:cubicBezTo>
                    <a:pt x="20" y="4"/>
                    <a:pt x="19" y="5"/>
                    <a:pt x="19" y="6"/>
                  </a:cubicBezTo>
                  <a:cubicBezTo>
                    <a:pt x="19" y="8"/>
                    <a:pt x="20" y="9"/>
                    <a:pt x="22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4"/>
                    <a:pt x="19" y="15"/>
                    <a:pt x="19" y="16"/>
                  </a:cubicBezTo>
                  <a:cubicBezTo>
                    <a:pt x="19" y="18"/>
                    <a:pt x="20" y="19"/>
                    <a:pt x="22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8"/>
                    <a:pt x="15" y="16"/>
                    <a:pt x="15" y="15"/>
                  </a:cubicBezTo>
                  <a:cubicBezTo>
                    <a:pt x="15" y="12"/>
                    <a:pt x="15" y="11"/>
                    <a:pt x="17" y="10"/>
                  </a:cubicBezTo>
                  <a:cubicBezTo>
                    <a:pt x="15" y="9"/>
                    <a:pt x="15" y="7"/>
                    <a:pt x="15" y="5"/>
                  </a:cubicBezTo>
                  <a:cubicBezTo>
                    <a:pt x="15" y="1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22" y="4"/>
                    <a:pt x="22" y="4"/>
                    <a:pt x="22" y="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/>
          </p:nvSpPr>
          <p:spPr bwMode="auto">
            <a:xfrm>
              <a:off x="6753226" y="3728255"/>
              <a:ext cx="357188" cy="139304"/>
            </a:xfrm>
            <a:custGeom>
              <a:avLst/>
              <a:gdLst/>
              <a:ahLst/>
              <a:cxnLst>
                <a:cxn ang="0">
                  <a:pos x="6" y="19"/>
                </a:cxn>
                <a:cxn ang="0">
                  <a:pos x="4" y="26"/>
                </a:cxn>
                <a:cxn ang="0">
                  <a:pos x="13" y="45"/>
                </a:cxn>
                <a:cxn ang="0">
                  <a:pos x="0" y="45"/>
                </a:cxn>
                <a:cxn ang="0">
                  <a:pos x="4" y="43"/>
                </a:cxn>
                <a:cxn ang="0">
                  <a:pos x="6" y="51"/>
                </a:cxn>
                <a:cxn ang="0">
                  <a:pos x="9" y="44"/>
                </a:cxn>
                <a:cxn ang="0">
                  <a:pos x="0" y="25"/>
                </a:cxn>
                <a:cxn ang="0">
                  <a:pos x="13" y="25"/>
                </a:cxn>
                <a:cxn ang="0">
                  <a:pos x="8" y="28"/>
                </a:cxn>
                <a:cxn ang="0">
                  <a:pos x="27" y="22"/>
                </a:cxn>
                <a:cxn ang="0">
                  <a:pos x="22" y="22"/>
                </a:cxn>
                <a:cxn ang="0">
                  <a:pos x="17" y="55"/>
                </a:cxn>
                <a:cxn ang="0">
                  <a:pos x="22" y="0"/>
                </a:cxn>
                <a:cxn ang="0">
                  <a:pos x="26" y="14"/>
                </a:cxn>
                <a:cxn ang="0">
                  <a:pos x="32" y="55"/>
                </a:cxn>
                <a:cxn ang="0">
                  <a:pos x="27" y="22"/>
                </a:cxn>
                <a:cxn ang="0">
                  <a:pos x="43" y="50"/>
                </a:cxn>
                <a:cxn ang="0">
                  <a:pos x="46" y="14"/>
                </a:cxn>
                <a:cxn ang="0">
                  <a:pos x="50" y="55"/>
                </a:cxn>
                <a:cxn ang="0">
                  <a:pos x="46" y="54"/>
                </a:cxn>
                <a:cxn ang="0">
                  <a:pos x="36" y="46"/>
                </a:cxn>
                <a:cxn ang="0">
                  <a:pos x="41" y="14"/>
                </a:cxn>
                <a:cxn ang="0">
                  <a:pos x="55" y="0"/>
                </a:cxn>
                <a:cxn ang="0">
                  <a:pos x="60" y="34"/>
                </a:cxn>
                <a:cxn ang="0">
                  <a:pos x="66" y="14"/>
                </a:cxn>
                <a:cxn ang="0">
                  <a:pos x="64" y="35"/>
                </a:cxn>
                <a:cxn ang="0">
                  <a:pos x="66" y="55"/>
                </a:cxn>
                <a:cxn ang="0">
                  <a:pos x="60" y="37"/>
                </a:cxn>
                <a:cxn ang="0">
                  <a:pos x="55" y="55"/>
                </a:cxn>
                <a:cxn ang="0">
                  <a:pos x="78" y="16"/>
                </a:cxn>
                <a:cxn ang="0">
                  <a:pos x="82" y="21"/>
                </a:cxn>
                <a:cxn ang="0">
                  <a:pos x="78" y="22"/>
                </a:cxn>
                <a:cxn ang="0">
                  <a:pos x="73" y="55"/>
                </a:cxn>
                <a:cxn ang="0">
                  <a:pos x="78" y="14"/>
                </a:cxn>
                <a:cxn ang="0">
                  <a:pos x="90" y="8"/>
                </a:cxn>
                <a:cxn ang="0">
                  <a:pos x="86" y="0"/>
                </a:cxn>
                <a:cxn ang="0">
                  <a:pos x="90" y="8"/>
                </a:cxn>
                <a:cxn ang="0">
                  <a:pos x="86" y="55"/>
                </a:cxn>
                <a:cxn ang="0">
                  <a:pos x="90" y="14"/>
                </a:cxn>
                <a:cxn ang="0">
                  <a:pos x="94" y="60"/>
                </a:cxn>
                <a:cxn ang="0">
                  <a:pos x="93" y="14"/>
                </a:cxn>
                <a:cxn ang="0">
                  <a:pos x="100" y="32"/>
                </a:cxn>
                <a:cxn ang="0">
                  <a:pos x="102" y="33"/>
                </a:cxn>
                <a:cxn ang="0">
                  <a:pos x="109" y="14"/>
                </a:cxn>
                <a:cxn ang="0">
                  <a:pos x="100" y="63"/>
                </a:cxn>
                <a:cxn ang="0">
                  <a:pos x="94" y="60"/>
                </a:cxn>
                <a:cxn ang="0">
                  <a:pos x="120" y="38"/>
                </a:cxn>
                <a:cxn ang="0">
                  <a:pos x="116" y="43"/>
                </a:cxn>
                <a:cxn ang="0">
                  <a:pos x="119" y="50"/>
                </a:cxn>
                <a:cxn ang="0">
                  <a:pos x="122" y="37"/>
                </a:cxn>
                <a:cxn ang="0">
                  <a:pos x="115" y="35"/>
                </a:cxn>
                <a:cxn ang="0">
                  <a:pos x="122" y="31"/>
                </a:cxn>
                <a:cxn ang="0">
                  <a:pos x="119" y="19"/>
                </a:cxn>
                <a:cxn ang="0">
                  <a:pos x="117" y="30"/>
                </a:cxn>
                <a:cxn ang="0">
                  <a:pos x="113" y="24"/>
                </a:cxn>
                <a:cxn ang="0">
                  <a:pos x="126" y="24"/>
                </a:cxn>
                <a:cxn ang="0">
                  <a:pos x="122" y="55"/>
                </a:cxn>
                <a:cxn ang="0">
                  <a:pos x="118" y="55"/>
                </a:cxn>
                <a:cxn ang="0">
                  <a:pos x="112" y="43"/>
                </a:cxn>
              </a:cxnLst>
              <a:rect l="0" t="0" r="r" b="b"/>
              <a:pathLst>
                <a:path w="126" h="66">
                  <a:moveTo>
                    <a:pt x="8" y="22"/>
                  </a:moveTo>
                  <a:cubicBezTo>
                    <a:pt x="8" y="20"/>
                    <a:pt x="7" y="19"/>
                    <a:pt x="6" y="19"/>
                  </a:cubicBezTo>
                  <a:cubicBezTo>
                    <a:pt x="5" y="19"/>
                    <a:pt x="4" y="20"/>
                    <a:pt x="4" y="22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8"/>
                    <a:pt x="6" y="31"/>
                    <a:pt x="9" y="34"/>
                  </a:cubicBezTo>
                  <a:cubicBezTo>
                    <a:pt x="11" y="38"/>
                    <a:pt x="13" y="42"/>
                    <a:pt x="13" y="45"/>
                  </a:cubicBezTo>
                  <a:cubicBezTo>
                    <a:pt x="13" y="52"/>
                    <a:pt x="11" y="55"/>
                    <a:pt x="6" y="55"/>
                  </a:cubicBezTo>
                  <a:cubicBezTo>
                    <a:pt x="2" y="55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50"/>
                    <a:pt x="5" y="51"/>
                    <a:pt x="6" y="51"/>
                  </a:cubicBezTo>
                  <a:cubicBezTo>
                    <a:pt x="7" y="51"/>
                    <a:pt x="9" y="50"/>
                    <a:pt x="9" y="4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2"/>
                    <a:pt x="7" y="39"/>
                    <a:pt x="4" y="36"/>
                  </a:cubicBezTo>
                  <a:cubicBezTo>
                    <a:pt x="1" y="33"/>
                    <a:pt x="0" y="29"/>
                    <a:pt x="0" y="25"/>
                  </a:cubicBezTo>
                  <a:cubicBezTo>
                    <a:pt x="0" y="18"/>
                    <a:pt x="2" y="14"/>
                    <a:pt x="6" y="14"/>
                  </a:cubicBezTo>
                  <a:cubicBezTo>
                    <a:pt x="11" y="14"/>
                    <a:pt x="13" y="18"/>
                    <a:pt x="13" y="25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8" y="22"/>
                  </a:lnTo>
                  <a:close/>
                  <a:moveTo>
                    <a:pt x="27" y="22"/>
                  </a:moveTo>
                  <a:cubicBezTo>
                    <a:pt x="27" y="20"/>
                    <a:pt x="26" y="19"/>
                    <a:pt x="24" y="19"/>
                  </a:cubicBezTo>
                  <a:cubicBezTo>
                    <a:pt x="23" y="19"/>
                    <a:pt x="22" y="20"/>
                    <a:pt x="22" y="22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5"/>
                    <a:pt x="24" y="14"/>
                    <a:pt x="26" y="14"/>
                  </a:cubicBezTo>
                  <a:cubicBezTo>
                    <a:pt x="29" y="14"/>
                    <a:pt x="32" y="18"/>
                    <a:pt x="32" y="2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22"/>
                    <a:pt x="27" y="22"/>
                    <a:pt x="27" y="22"/>
                  </a:cubicBezTo>
                  <a:close/>
                  <a:moveTo>
                    <a:pt x="41" y="48"/>
                  </a:moveTo>
                  <a:cubicBezTo>
                    <a:pt x="41" y="50"/>
                    <a:pt x="42" y="50"/>
                    <a:pt x="43" y="50"/>
                  </a:cubicBezTo>
                  <a:cubicBezTo>
                    <a:pt x="45" y="50"/>
                    <a:pt x="46" y="50"/>
                    <a:pt x="46" y="48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5" y="55"/>
                    <a:pt x="43" y="55"/>
                    <a:pt x="42" y="55"/>
                  </a:cubicBezTo>
                  <a:cubicBezTo>
                    <a:pt x="38" y="55"/>
                    <a:pt x="36" y="52"/>
                    <a:pt x="36" y="46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48"/>
                    <a:pt x="41" y="48"/>
                    <a:pt x="41" y="48"/>
                  </a:cubicBezTo>
                  <a:close/>
                  <a:moveTo>
                    <a:pt x="55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1" y="29"/>
                    <a:pt x="61" y="29"/>
                    <a:pt x="61" y="29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55" y="55"/>
                    <a:pt x="55" y="55"/>
                    <a:pt x="55" y="55"/>
                  </a:cubicBezTo>
                  <a:lnTo>
                    <a:pt x="55" y="0"/>
                  </a:lnTo>
                  <a:close/>
                  <a:moveTo>
                    <a:pt x="78" y="16"/>
                  </a:moveTo>
                  <a:cubicBezTo>
                    <a:pt x="79" y="15"/>
                    <a:pt x="80" y="14"/>
                    <a:pt x="82" y="14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19"/>
                    <a:pt x="82" y="19"/>
                    <a:pt x="81" y="19"/>
                  </a:cubicBezTo>
                  <a:cubicBezTo>
                    <a:pt x="79" y="19"/>
                    <a:pt x="78" y="20"/>
                    <a:pt x="78" y="22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16"/>
                    <a:pt x="78" y="16"/>
                    <a:pt x="78" y="16"/>
                  </a:cubicBezTo>
                  <a:close/>
                  <a:moveTo>
                    <a:pt x="90" y="8"/>
                  </a:moveTo>
                  <a:cubicBezTo>
                    <a:pt x="86" y="8"/>
                    <a:pt x="86" y="8"/>
                    <a:pt x="86" y="8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90" y="8"/>
                  </a:lnTo>
                  <a:close/>
                  <a:moveTo>
                    <a:pt x="90" y="55"/>
                  </a:moveTo>
                  <a:cubicBezTo>
                    <a:pt x="86" y="55"/>
                    <a:pt x="86" y="55"/>
                    <a:pt x="86" y="55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90" y="14"/>
                    <a:pt x="90" y="14"/>
                    <a:pt x="90" y="14"/>
                  </a:cubicBezTo>
                  <a:lnTo>
                    <a:pt x="90" y="55"/>
                  </a:lnTo>
                  <a:close/>
                  <a:moveTo>
                    <a:pt x="94" y="60"/>
                  </a:moveTo>
                  <a:cubicBezTo>
                    <a:pt x="97" y="60"/>
                    <a:pt x="98" y="59"/>
                    <a:pt x="99" y="55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3" y="59"/>
                    <a:pt x="102" y="62"/>
                    <a:pt x="100" y="63"/>
                  </a:cubicBezTo>
                  <a:cubicBezTo>
                    <a:pt x="98" y="64"/>
                    <a:pt x="96" y="66"/>
                    <a:pt x="94" y="66"/>
                  </a:cubicBezTo>
                  <a:cubicBezTo>
                    <a:pt x="94" y="60"/>
                    <a:pt x="94" y="60"/>
                    <a:pt x="94" y="60"/>
                  </a:cubicBezTo>
                  <a:close/>
                  <a:moveTo>
                    <a:pt x="122" y="37"/>
                  </a:moveTo>
                  <a:cubicBezTo>
                    <a:pt x="121" y="37"/>
                    <a:pt x="120" y="37"/>
                    <a:pt x="120" y="38"/>
                  </a:cubicBezTo>
                  <a:cubicBezTo>
                    <a:pt x="119" y="39"/>
                    <a:pt x="119" y="39"/>
                    <a:pt x="118" y="39"/>
                  </a:cubicBezTo>
                  <a:cubicBezTo>
                    <a:pt x="117" y="40"/>
                    <a:pt x="116" y="41"/>
                    <a:pt x="116" y="43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6" y="50"/>
                    <a:pt x="118" y="50"/>
                    <a:pt x="119" y="50"/>
                  </a:cubicBezTo>
                  <a:cubicBezTo>
                    <a:pt x="120" y="50"/>
                    <a:pt x="122" y="50"/>
                    <a:pt x="122" y="48"/>
                  </a:cubicBezTo>
                  <a:lnTo>
                    <a:pt x="122" y="37"/>
                  </a:lnTo>
                  <a:close/>
                  <a:moveTo>
                    <a:pt x="112" y="43"/>
                  </a:moveTo>
                  <a:cubicBezTo>
                    <a:pt x="112" y="39"/>
                    <a:pt x="113" y="37"/>
                    <a:pt x="115" y="35"/>
                  </a:cubicBezTo>
                  <a:cubicBezTo>
                    <a:pt x="116" y="34"/>
                    <a:pt x="118" y="34"/>
                    <a:pt x="119" y="33"/>
                  </a:cubicBezTo>
                  <a:cubicBezTo>
                    <a:pt x="120" y="32"/>
                    <a:pt x="121" y="31"/>
                    <a:pt x="122" y="31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22" y="20"/>
                    <a:pt x="121" y="19"/>
                    <a:pt x="119" y="19"/>
                  </a:cubicBezTo>
                  <a:cubicBezTo>
                    <a:pt x="118" y="19"/>
                    <a:pt x="117" y="20"/>
                    <a:pt x="117" y="22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3" y="30"/>
                    <a:pt x="113" y="30"/>
                    <a:pt x="113" y="30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17"/>
                    <a:pt x="115" y="14"/>
                    <a:pt x="119" y="14"/>
                  </a:cubicBezTo>
                  <a:cubicBezTo>
                    <a:pt x="124" y="14"/>
                    <a:pt x="126" y="18"/>
                    <a:pt x="126" y="24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1" y="55"/>
                    <a:pt x="119" y="55"/>
                    <a:pt x="118" y="55"/>
                  </a:cubicBezTo>
                  <a:cubicBezTo>
                    <a:pt x="114" y="55"/>
                    <a:pt x="112" y="52"/>
                    <a:pt x="112" y="46"/>
                  </a:cubicBezTo>
                  <a:cubicBezTo>
                    <a:pt x="112" y="43"/>
                    <a:pt x="112" y="43"/>
                    <a:pt x="112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7861301" y="3475843"/>
              <a:ext cx="355600" cy="139304"/>
            </a:xfrm>
            <a:custGeom>
              <a:avLst/>
              <a:gdLst/>
              <a:ahLst/>
              <a:cxnLst>
                <a:cxn ang="0">
                  <a:pos x="1" y="15"/>
                </a:cxn>
                <a:cxn ang="0">
                  <a:pos x="6" y="0"/>
                </a:cxn>
                <a:cxn ang="0">
                  <a:pos x="9" y="15"/>
                </a:cxn>
                <a:cxn ang="0">
                  <a:pos x="6" y="20"/>
                </a:cxn>
                <a:cxn ang="0">
                  <a:pos x="9" y="51"/>
                </a:cxn>
                <a:cxn ang="0">
                  <a:pos x="1" y="46"/>
                </a:cxn>
                <a:cxn ang="0">
                  <a:pos x="0" y="20"/>
                </a:cxn>
                <a:cxn ang="0">
                  <a:pos x="17" y="17"/>
                </a:cxn>
                <a:cxn ang="0">
                  <a:pos x="22" y="20"/>
                </a:cxn>
                <a:cxn ang="0">
                  <a:pos x="17" y="23"/>
                </a:cxn>
                <a:cxn ang="0">
                  <a:pos x="13" y="56"/>
                </a:cxn>
                <a:cxn ang="0">
                  <a:pos x="17" y="15"/>
                </a:cxn>
                <a:cxn ang="0">
                  <a:pos x="29" y="48"/>
                </a:cxn>
                <a:cxn ang="0">
                  <a:pos x="34" y="48"/>
                </a:cxn>
                <a:cxn ang="0">
                  <a:pos x="39" y="15"/>
                </a:cxn>
                <a:cxn ang="0">
                  <a:pos x="34" y="56"/>
                </a:cxn>
                <a:cxn ang="0">
                  <a:pos x="30" y="56"/>
                </a:cxn>
                <a:cxn ang="0">
                  <a:pos x="24" y="15"/>
                </a:cxn>
                <a:cxn ang="0">
                  <a:pos x="29" y="48"/>
                </a:cxn>
                <a:cxn ang="0">
                  <a:pos x="51" y="50"/>
                </a:cxn>
                <a:cxn ang="0">
                  <a:pos x="53" y="23"/>
                </a:cxn>
                <a:cxn ang="0">
                  <a:pos x="48" y="23"/>
                </a:cxn>
                <a:cxn ang="0">
                  <a:pos x="51" y="61"/>
                </a:cxn>
                <a:cxn ang="0">
                  <a:pos x="53" y="53"/>
                </a:cxn>
                <a:cxn ang="0">
                  <a:pos x="44" y="45"/>
                </a:cxn>
                <a:cxn ang="0">
                  <a:pos x="49" y="15"/>
                </a:cxn>
                <a:cxn ang="0">
                  <a:pos x="53" y="15"/>
                </a:cxn>
                <a:cxn ang="0">
                  <a:pos x="58" y="56"/>
                </a:cxn>
                <a:cxn ang="0">
                  <a:pos x="44" y="58"/>
                </a:cxn>
                <a:cxn ang="0">
                  <a:pos x="51" y="61"/>
                </a:cxn>
                <a:cxn ang="0">
                  <a:pos x="70" y="38"/>
                </a:cxn>
                <a:cxn ang="0">
                  <a:pos x="67" y="43"/>
                </a:cxn>
                <a:cxn ang="0">
                  <a:pos x="69" y="51"/>
                </a:cxn>
                <a:cxn ang="0">
                  <a:pos x="72" y="37"/>
                </a:cxn>
                <a:cxn ang="0">
                  <a:pos x="66" y="36"/>
                </a:cxn>
                <a:cxn ang="0">
                  <a:pos x="72" y="31"/>
                </a:cxn>
                <a:cxn ang="0">
                  <a:pos x="70" y="20"/>
                </a:cxn>
                <a:cxn ang="0">
                  <a:pos x="68" y="30"/>
                </a:cxn>
                <a:cxn ang="0">
                  <a:pos x="63" y="24"/>
                </a:cxn>
                <a:cxn ang="0">
                  <a:pos x="77" y="24"/>
                </a:cxn>
                <a:cxn ang="0">
                  <a:pos x="72" y="56"/>
                </a:cxn>
                <a:cxn ang="0">
                  <a:pos x="68" y="56"/>
                </a:cxn>
                <a:cxn ang="0">
                  <a:pos x="62" y="43"/>
                </a:cxn>
                <a:cxn ang="0">
                  <a:pos x="90" y="15"/>
                </a:cxn>
                <a:cxn ang="0">
                  <a:pos x="88" y="20"/>
                </a:cxn>
                <a:cxn ang="0">
                  <a:pos x="86" y="56"/>
                </a:cxn>
                <a:cxn ang="0">
                  <a:pos x="81" y="15"/>
                </a:cxn>
                <a:cxn ang="0">
                  <a:pos x="86" y="17"/>
                </a:cxn>
                <a:cxn ang="0">
                  <a:pos x="103" y="31"/>
                </a:cxn>
                <a:cxn ang="0">
                  <a:pos x="100" y="20"/>
                </a:cxn>
                <a:cxn ang="0">
                  <a:pos x="98" y="31"/>
                </a:cxn>
                <a:cxn ang="0">
                  <a:pos x="100" y="51"/>
                </a:cxn>
                <a:cxn ang="0">
                  <a:pos x="103" y="40"/>
                </a:cxn>
                <a:cxn ang="0">
                  <a:pos x="108" y="46"/>
                </a:cxn>
                <a:cxn ang="0">
                  <a:pos x="93" y="46"/>
                </a:cxn>
                <a:cxn ang="0">
                  <a:pos x="100" y="15"/>
                </a:cxn>
                <a:cxn ang="0">
                  <a:pos x="108" y="36"/>
                </a:cxn>
                <a:cxn ang="0">
                  <a:pos x="98" y="48"/>
                </a:cxn>
                <a:cxn ang="0">
                  <a:pos x="125" y="15"/>
                </a:cxn>
                <a:cxn ang="0">
                  <a:pos x="117" y="51"/>
                </a:cxn>
                <a:cxn ang="0">
                  <a:pos x="125" y="56"/>
                </a:cxn>
                <a:cxn ang="0">
                  <a:pos x="112" y="51"/>
                </a:cxn>
                <a:cxn ang="0">
                  <a:pos x="112" y="20"/>
                </a:cxn>
              </a:cxnLst>
              <a:rect l="0" t="0" r="r" b="b"/>
              <a:pathLst>
                <a:path w="125" h="66">
                  <a:moveTo>
                    <a:pt x="0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50"/>
                    <a:pt x="7" y="51"/>
                    <a:pt x="9" y="51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4" y="56"/>
                    <a:pt x="1" y="52"/>
                    <a:pt x="1" y="46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5"/>
                    <a:pt x="0" y="15"/>
                    <a:pt x="0" y="15"/>
                  </a:cubicBezTo>
                  <a:close/>
                  <a:moveTo>
                    <a:pt x="17" y="17"/>
                  </a:moveTo>
                  <a:cubicBezTo>
                    <a:pt x="18" y="15"/>
                    <a:pt x="19" y="15"/>
                    <a:pt x="22" y="15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1" y="20"/>
                    <a:pt x="20" y="20"/>
                    <a:pt x="19" y="20"/>
                  </a:cubicBezTo>
                  <a:cubicBezTo>
                    <a:pt x="18" y="20"/>
                    <a:pt x="17" y="20"/>
                    <a:pt x="17" y="23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7"/>
                    <a:pt x="17" y="17"/>
                    <a:pt x="17" y="17"/>
                  </a:cubicBezTo>
                  <a:close/>
                  <a:moveTo>
                    <a:pt x="29" y="48"/>
                  </a:moveTo>
                  <a:cubicBezTo>
                    <a:pt x="29" y="50"/>
                    <a:pt x="30" y="51"/>
                    <a:pt x="32" y="51"/>
                  </a:cubicBezTo>
                  <a:cubicBezTo>
                    <a:pt x="33" y="51"/>
                    <a:pt x="34" y="50"/>
                    <a:pt x="34" y="48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3" y="55"/>
                    <a:pt x="32" y="56"/>
                    <a:pt x="30" y="56"/>
                  </a:cubicBezTo>
                  <a:cubicBezTo>
                    <a:pt x="26" y="56"/>
                    <a:pt x="24" y="52"/>
                    <a:pt x="24" y="46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48"/>
                    <a:pt x="29" y="48"/>
                    <a:pt x="29" y="48"/>
                  </a:cubicBezTo>
                  <a:close/>
                  <a:moveTo>
                    <a:pt x="48" y="47"/>
                  </a:moveTo>
                  <a:cubicBezTo>
                    <a:pt x="48" y="49"/>
                    <a:pt x="49" y="50"/>
                    <a:pt x="51" y="50"/>
                  </a:cubicBezTo>
                  <a:cubicBezTo>
                    <a:pt x="52" y="50"/>
                    <a:pt x="53" y="49"/>
                    <a:pt x="53" y="47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0"/>
                    <a:pt x="52" y="19"/>
                    <a:pt x="51" y="19"/>
                  </a:cubicBezTo>
                  <a:cubicBezTo>
                    <a:pt x="49" y="19"/>
                    <a:pt x="48" y="20"/>
                    <a:pt x="48" y="23"/>
                  </a:cubicBezTo>
                  <a:lnTo>
                    <a:pt x="48" y="47"/>
                  </a:lnTo>
                  <a:close/>
                  <a:moveTo>
                    <a:pt x="51" y="61"/>
                  </a:moveTo>
                  <a:cubicBezTo>
                    <a:pt x="52" y="61"/>
                    <a:pt x="53" y="60"/>
                    <a:pt x="53" y="58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2" y="54"/>
                    <a:pt x="51" y="55"/>
                    <a:pt x="49" y="55"/>
                  </a:cubicBezTo>
                  <a:cubicBezTo>
                    <a:pt x="45" y="55"/>
                    <a:pt x="44" y="52"/>
                    <a:pt x="44" y="45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18"/>
                    <a:pt x="45" y="15"/>
                    <a:pt x="49" y="15"/>
                  </a:cubicBezTo>
                  <a:cubicBezTo>
                    <a:pt x="50" y="15"/>
                    <a:pt x="52" y="15"/>
                    <a:pt x="53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63"/>
                    <a:pt x="55" y="66"/>
                    <a:pt x="51" y="66"/>
                  </a:cubicBezTo>
                  <a:cubicBezTo>
                    <a:pt x="46" y="66"/>
                    <a:pt x="44" y="63"/>
                    <a:pt x="44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60"/>
                    <a:pt x="49" y="61"/>
                    <a:pt x="51" y="61"/>
                  </a:cubicBezTo>
                  <a:close/>
                  <a:moveTo>
                    <a:pt x="72" y="37"/>
                  </a:moveTo>
                  <a:cubicBezTo>
                    <a:pt x="71" y="38"/>
                    <a:pt x="70" y="38"/>
                    <a:pt x="70" y="38"/>
                  </a:cubicBezTo>
                  <a:cubicBezTo>
                    <a:pt x="69" y="39"/>
                    <a:pt x="69" y="39"/>
                    <a:pt x="69" y="40"/>
                  </a:cubicBezTo>
                  <a:cubicBezTo>
                    <a:pt x="68" y="40"/>
                    <a:pt x="67" y="42"/>
                    <a:pt x="67" y="43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50"/>
                    <a:pt x="68" y="51"/>
                    <a:pt x="69" y="51"/>
                  </a:cubicBezTo>
                  <a:cubicBezTo>
                    <a:pt x="71" y="51"/>
                    <a:pt x="72" y="50"/>
                    <a:pt x="72" y="48"/>
                  </a:cubicBezTo>
                  <a:cubicBezTo>
                    <a:pt x="72" y="37"/>
                    <a:pt x="72" y="37"/>
                    <a:pt x="72" y="37"/>
                  </a:cubicBezTo>
                  <a:close/>
                  <a:moveTo>
                    <a:pt x="62" y="43"/>
                  </a:moveTo>
                  <a:cubicBezTo>
                    <a:pt x="62" y="40"/>
                    <a:pt x="64" y="37"/>
                    <a:pt x="66" y="36"/>
                  </a:cubicBezTo>
                  <a:cubicBezTo>
                    <a:pt x="67" y="35"/>
                    <a:pt x="68" y="34"/>
                    <a:pt x="69" y="33"/>
                  </a:cubicBezTo>
                  <a:cubicBezTo>
                    <a:pt x="70" y="33"/>
                    <a:pt x="71" y="32"/>
                    <a:pt x="72" y="31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0"/>
                    <a:pt x="71" y="20"/>
                    <a:pt x="70" y="20"/>
                  </a:cubicBezTo>
                  <a:cubicBezTo>
                    <a:pt x="68" y="20"/>
                    <a:pt x="68" y="20"/>
                    <a:pt x="68" y="23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18"/>
                    <a:pt x="65" y="15"/>
                    <a:pt x="70" y="15"/>
                  </a:cubicBezTo>
                  <a:cubicBezTo>
                    <a:pt x="74" y="15"/>
                    <a:pt x="77" y="18"/>
                    <a:pt x="77" y="24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5"/>
                    <a:pt x="70" y="56"/>
                    <a:pt x="68" y="56"/>
                  </a:cubicBezTo>
                  <a:cubicBezTo>
                    <a:pt x="64" y="56"/>
                    <a:pt x="62" y="52"/>
                    <a:pt x="62" y="46"/>
                  </a:cubicBezTo>
                  <a:cubicBezTo>
                    <a:pt x="62" y="43"/>
                    <a:pt x="62" y="43"/>
                    <a:pt x="62" y="43"/>
                  </a:cubicBezTo>
                  <a:close/>
                  <a:moveTo>
                    <a:pt x="86" y="17"/>
                  </a:moveTo>
                  <a:cubicBezTo>
                    <a:pt x="86" y="15"/>
                    <a:pt x="88" y="15"/>
                    <a:pt x="90" y="15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0"/>
                    <a:pt x="89" y="20"/>
                    <a:pt x="88" y="20"/>
                  </a:cubicBezTo>
                  <a:cubicBezTo>
                    <a:pt x="87" y="20"/>
                    <a:pt x="86" y="20"/>
                    <a:pt x="86" y="23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17"/>
                    <a:pt x="86" y="17"/>
                    <a:pt x="86" y="17"/>
                  </a:cubicBezTo>
                  <a:close/>
                  <a:moveTo>
                    <a:pt x="98" y="31"/>
                  </a:moveTo>
                  <a:cubicBezTo>
                    <a:pt x="103" y="31"/>
                    <a:pt x="103" y="31"/>
                    <a:pt x="103" y="31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3" y="20"/>
                    <a:pt x="102" y="20"/>
                    <a:pt x="100" y="20"/>
                  </a:cubicBezTo>
                  <a:cubicBezTo>
                    <a:pt x="99" y="20"/>
                    <a:pt x="98" y="20"/>
                    <a:pt x="98" y="23"/>
                  </a:cubicBezTo>
                  <a:cubicBezTo>
                    <a:pt x="98" y="31"/>
                    <a:pt x="98" y="31"/>
                    <a:pt x="98" y="31"/>
                  </a:cubicBezTo>
                  <a:close/>
                  <a:moveTo>
                    <a:pt x="98" y="48"/>
                  </a:moveTo>
                  <a:cubicBezTo>
                    <a:pt x="98" y="50"/>
                    <a:pt x="99" y="51"/>
                    <a:pt x="100" y="51"/>
                  </a:cubicBezTo>
                  <a:cubicBezTo>
                    <a:pt x="102" y="51"/>
                    <a:pt x="103" y="50"/>
                    <a:pt x="103" y="48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108" y="52"/>
                    <a:pt x="105" y="56"/>
                    <a:pt x="100" y="56"/>
                  </a:cubicBezTo>
                  <a:cubicBezTo>
                    <a:pt x="96" y="56"/>
                    <a:pt x="93" y="52"/>
                    <a:pt x="93" y="46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18"/>
                    <a:pt x="96" y="15"/>
                    <a:pt x="100" y="15"/>
                  </a:cubicBezTo>
                  <a:cubicBezTo>
                    <a:pt x="105" y="15"/>
                    <a:pt x="108" y="18"/>
                    <a:pt x="108" y="24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48"/>
                    <a:pt x="98" y="48"/>
                    <a:pt x="98" y="48"/>
                  </a:cubicBezTo>
                  <a:close/>
                  <a:moveTo>
                    <a:pt x="112" y="15"/>
                  </a:moveTo>
                  <a:cubicBezTo>
                    <a:pt x="125" y="15"/>
                    <a:pt x="125" y="15"/>
                    <a:pt x="125" y="15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2" y="15"/>
                    <a:pt x="112" y="15"/>
                    <a:pt x="112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8272464" y="2666218"/>
              <a:ext cx="157163" cy="311944"/>
            </a:xfrm>
            <a:custGeom>
              <a:avLst/>
              <a:gdLst/>
              <a:ahLst/>
              <a:cxnLst>
                <a:cxn ang="0">
                  <a:pos x="22" y="133"/>
                </a:cxn>
                <a:cxn ang="0">
                  <a:pos x="22" y="138"/>
                </a:cxn>
                <a:cxn ang="0">
                  <a:pos x="55" y="143"/>
                </a:cxn>
                <a:cxn ang="0">
                  <a:pos x="14" y="143"/>
                </a:cxn>
                <a:cxn ang="0">
                  <a:pos x="17" y="135"/>
                </a:cxn>
                <a:cxn ang="0">
                  <a:pos x="55" y="124"/>
                </a:cxn>
                <a:cxn ang="0">
                  <a:pos x="47" y="114"/>
                </a:cxn>
                <a:cxn ang="0">
                  <a:pos x="14" y="109"/>
                </a:cxn>
                <a:cxn ang="0">
                  <a:pos x="55" y="109"/>
                </a:cxn>
                <a:cxn ang="0">
                  <a:pos x="45" y="119"/>
                </a:cxn>
                <a:cxn ang="0">
                  <a:pos x="47" y="114"/>
                </a:cxn>
                <a:cxn ang="0">
                  <a:pos x="20" y="91"/>
                </a:cxn>
                <a:cxn ang="0">
                  <a:pos x="55" y="95"/>
                </a:cxn>
                <a:cxn ang="0">
                  <a:pos x="14" y="95"/>
                </a:cxn>
                <a:cxn ang="0">
                  <a:pos x="38" y="81"/>
                </a:cxn>
                <a:cxn ang="0">
                  <a:pos x="47" y="83"/>
                </a:cxn>
                <a:cxn ang="0">
                  <a:pos x="37" y="78"/>
                </a:cxn>
                <a:cxn ang="0">
                  <a:pos x="32" y="81"/>
                </a:cxn>
                <a:cxn ang="0">
                  <a:pos x="19" y="81"/>
                </a:cxn>
                <a:cxn ang="0">
                  <a:pos x="29" y="88"/>
                </a:cxn>
                <a:cxn ang="0">
                  <a:pos x="24" y="74"/>
                </a:cxn>
                <a:cxn ang="0">
                  <a:pos x="54" y="78"/>
                </a:cxn>
                <a:cxn ang="0">
                  <a:pos x="42" y="88"/>
                </a:cxn>
                <a:cxn ang="0">
                  <a:pos x="33" y="64"/>
                </a:cxn>
                <a:cxn ang="0">
                  <a:pos x="14" y="53"/>
                </a:cxn>
                <a:cxn ang="0">
                  <a:pos x="55" y="59"/>
                </a:cxn>
                <a:cxn ang="0">
                  <a:pos x="55" y="64"/>
                </a:cxn>
                <a:cxn ang="0">
                  <a:pos x="22" y="41"/>
                </a:cxn>
                <a:cxn ang="0">
                  <a:pos x="47" y="46"/>
                </a:cxn>
                <a:cxn ang="0">
                  <a:pos x="22" y="41"/>
                </a:cxn>
                <a:cxn ang="0">
                  <a:pos x="45" y="51"/>
                </a:cxn>
                <a:cxn ang="0">
                  <a:pos x="24" y="36"/>
                </a:cxn>
                <a:cxn ang="0">
                  <a:pos x="14" y="19"/>
                </a:cxn>
                <a:cxn ang="0">
                  <a:pos x="50" y="19"/>
                </a:cxn>
                <a:cxn ang="0">
                  <a:pos x="50" y="32"/>
                </a:cxn>
                <a:cxn ang="0">
                  <a:pos x="14" y="32"/>
                </a:cxn>
                <a:cxn ang="0">
                  <a:pos x="22" y="5"/>
                </a:cxn>
                <a:cxn ang="0">
                  <a:pos x="31" y="10"/>
                </a:cxn>
                <a:cxn ang="0">
                  <a:pos x="47" y="5"/>
                </a:cxn>
                <a:cxn ang="0">
                  <a:pos x="45" y="0"/>
                </a:cxn>
                <a:cxn ang="0">
                  <a:pos x="24" y="15"/>
                </a:cxn>
                <a:cxn ang="0">
                  <a:pos x="36" y="0"/>
                </a:cxn>
              </a:cxnLst>
              <a:rect l="0" t="0" r="r" b="b"/>
              <a:pathLst>
                <a:path w="55" h="147">
                  <a:moveTo>
                    <a:pt x="22" y="128"/>
                  </a:moveTo>
                  <a:cubicBezTo>
                    <a:pt x="20" y="128"/>
                    <a:pt x="19" y="130"/>
                    <a:pt x="19" y="131"/>
                  </a:cubicBezTo>
                  <a:cubicBezTo>
                    <a:pt x="19" y="132"/>
                    <a:pt x="20" y="133"/>
                    <a:pt x="22" y="133"/>
                  </a:cubicBezTo>
                  <a:cubicBezTo>
                    <a:pt x="55" y="133"/>
                    <a:pt x="55" y="133"/>
                    <a:pt x="55" y="133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20" y="138"/>
                    <a:pt x="19" y="139"/>
                    <a:pt x="19" y="140"/>
                  </a:cubicBezTo>
                  <a:cubicBezTo>
                    <a:pt x="19" y="142"/>
                    <a:pt x="20" y="143"/>
                    <a:pt x="22" y="143"/>
                  </a:cubicBezTo>
                  <a:cubicBezTo>
                    <a:pt x="55" y="143"/>
                    <a:pt x="55" y="143"/>
                    <a:pt x="55" y="143"/>
                  </a:cubicBezTo>
                  <a:cubicBezTo>
                    <a:pt x="55" y="147"/>
                    <a:pt x="55" y="147"/>
                    <a:pt x="55" y="147"/>
                  </a:cubicBezTo>
                  <a:cubicBezTo>
                    <a:pt x="14" y="147"/>
                    <a:pt x="14" y="147"/>
                    <a:pt x="14" y="147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4" y="142"/>
                    <a:pt x="14" y="141"/>
                    <a:pt x="14" y="139"/>
                  </a:cubicBezTo>
                  <a:cubicBezTo>
                    <a:pt x="14" y="137"/>
                    <a:pt x="15" y="136"/>
                    <a:pt x="17" y="135"/>
                  </a:cubicBezTo>
                  <a:cubicBezTo>
                    <a:pt x="15" y="133"/>
                    <a:pt x="14" y="132"/>
                    <a:pt x="14" y="130"/>
                  </a:cubicBezTo>
                  <a:cubicBezTo>
                    <a:pt x="14" y="126"/>
                    <a:pt x="17" y="124"/>
                    <a:pt x="24" y="124"/>
                  </a:cubicBezTo>
                  <a:cubicBezTo>
                    <a:pt x="55" y="124"/>
                    <a:pt x="55" y="124"/>
                    <a:pt x="55" y="124"/>
                  </a:cubicBezTo>
                  <a:cubicBezTo>
                    <a:pt x="55" y="128"/>
                    <a:pt x="55" y="128"/>
                    <a:pt x="55" y="128"/>
                  </a:cubicBezTo>
                  <a:cubicBezTo>
                    <a:pt x="22" y="128"/>
                    <a:pt x="22" y="128"/>
                    <a:pt x="22" y="128"/>
                  </a:cubicBezTo>
                  <a:close/>
                  <a:moveTo>
                    <a:pt x="47" y="114"/>
                  </a:moveTo>
                  <a:cubicBezTo>
                    <a:pt x="49" y="114"/>
                    <a:pt x="50" y="114"/>
                    <a:pt x="50" y="112"/>
                  </a:cubicBezTo>
                  <a:cubicBezTo>
                    <a:pt x="50" y="110"/>
                    <a:pt x="49" y="109"/>
                    <a:pt x="47" y="109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54" y="109"/>
                    <a:pt x="54" y="109"/>
                    <a:pt x="54" y="109"/>
                  </a:cubicBezTo>
                  <a:cubicBezTo>
                    <a:pt x="55" y="110"/>
                    <a:pt x="55" y="112"/>
                    <a:pt x="55" y="114"/>
                  </a:cubicBezTo>
                  <a:cubicBezTo>
                    <a:pt x="55" y="117"/>
                    <a:pt x="52" y="119"/>
                    <a:pt x="45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47" y="114"/>
                    <a:pt x="47" y="114"/>
                    <a:pt x="47" y="114"/>
                  </a:cubicBezTo>
                  <a:close/>
                  <a:moveTo>
                    <a:pt x="15" y="95"/>
                  </a:moveTo>
                  <a:cubicBezTo>
                    <a:pt x="14" y="95"/>
                    <a:pt x="14" y="94"/>
                    <a:pt x="14" y="91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9" y="92"/>
                    <a:pt x="19" y="92"/>
                    <a:pt x="19" y="93"/>
                  </a:cubicBezTo>
                  <a:cubicBezTo>
                    <a:pt x="19" y="95"/>
                    <a:pt x="20" y="95"/>
                    <a:pt x="22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5" y="100"/>
                    <a:pt x="55" y="100"/>
                    <a:pt x="5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95"/>
                    <a:pt x="14" y="95"/>
                    <a:pt x="14" y="95"/>
                  </a:cubicBezTo>
                  <a:lnTo>
                    <a:pt x="15" y="95"/>
                  </a:lnTo>
                  <a:close/>
                  <a:moveTo>
                    <a:pt x="37" y="78"/>
                  </a:moveTo>
                  <a:cubicBezTo>
                    <a:pt x="37" y="79"/>
                    <a:pt x="37" y="80"/>
                    <a:pt x="38" y="81"/>
                  </a:cubicBezTo>
                  <a:cubicBezTo>
                    <a:pt x="38" y="81"/>
                    <a:pt x="38" y="81"/>
                    <a:pt x="39" y="82"/>
                  </a:cubicBezTo>
                  <a:cubicBezTo>
                    <a:pt x="40" y="83"/>
                    <a:pt x="41" y="83"/>
                    <a:pt x="43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9" y="83"/>
                    <a:pt x="50" y="83"/>
                    <a:pt x="50" y="81"/>
                  </a:cubicBezTo>
                  <a:cubicBezTo>
                    <a:pt x="50" y="79"/>
                    <a:pt x="49" y="78"/>
                    <a:pt x="47" y="78"/>
                  </a:cubicBezTo>
                  <a:cubicBezTo>
                    <a:pt x="37" y="78"/>
                    <a:pt x="37" y="78"/>
                    <a:pt x="37" y="78"/>
                  </a:cubicBezTo>
                  <a:close/>
                  <a:moveTo>
                    <a:pt x="42" y="88"/>
                  </a:moveTo>
                  <a:cubicBezTo>
                    <a:pt x="39" y="88"/>
                    <a:pt x="37" y="87"/>
                    <a:pt x="35" y="85"/>
                  </a:cubicBezTo>
                  <a:cubicBezTo>
                    <a:pt x="34" y="83"/>
                    <a:pt x="33" y="82"/>
                    <a:pt x="32" y="81"/>
                  </a:cubicBezTo>
                  <a:cubicBezTo>
                    <a:pt x="32" y="80"/>
                    <a:pt x="31" y="79"/>
                    <a:pt x="31" y="78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20" y="78"/>
                    <a:pt x="19" y="79"/>
                    <a:pt x="19" y="81"/>
                  </a:cubicBezTo>
                  <a:cubicBezTo>
                    <a:pt x="19" y="82"/>
                    <a:pt x="20" y="83"/>
                    <a:pt x="22" y="83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17" y="88"/>
                    <a:pt x="14" y="86"/>
                    <a:pt x="14" y="81"/>
                  </a:cubicBezTo>
                  <a:cubicBezTo>
                    <a:pt x="14" y="76"/>
                    <a:pt x="17" y="74"/>
                    <a:pt x="24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5" y="79"/>
                    <a:pt x="55" y="81"/>
                    <a:pt x="55" y="82"/>
                  </a:cubicBezTo>
                  <a:cubicBezTo>
                    <a:pt x="55" y="86"/>
                    <a:pt x="52" y="88"/>
                    <a:pt x="45" y="88"/>
                  </a:cubicBezTo>
                  <a:cubicBezTo>
                    <a:pt x="42" y="88"/>
                    <a:pt x="42" y="88"/>
                    <a:pt x="42" y="88"/>
                  </a:cubicBezTo>
                  <a:close/>
                  <a:moveTo>
                    <a:pt x="0" y="69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0" y="69"/>
                    <a:pt x="0" y="69"/>
                    <a:pt x="0" y="69"/>
                  </a:cubicBezTo>
                  <a:close/>
                  <a:moveTo>
                    <a:pt x="22" y="41"/>
                  </a:moveTo>
                  <a:cubicBezTo>
                    <a:pt x="20" y="41"/>
                    <a:pt x="19" y="42"/>
                    <a:pt x="19" y="44"/>
                  </a:cubicBezTo>
                  <a:cubicBezTo>
                    <a:pt x="19" y="45"/>
                    <a:pt x="20" y="46"/>
                    <a:pt x="22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9" y="46"/>
                    <a:pt x="50" y="45"/>
                    <a:pt x="50" y="44"/>
                  </a:cubicBezTo>
                  <a:cubicBezTo>
                    <a:pt x="50" y="42"/>
                    <a:pt x="49" y="41"/>
                    <a:pt x="47" y="41"/>
                  </a:cubicBezTo>
                  <a:lnTo>
                    <a:pt x="22" y="41"/>
                  </a:lnTo>
                  <a:close/>
                  <a:moveTo>
                    <a:pt x="45" y="36"/>
                  </a:moveTo>
                  <a:cubicBezTo>
                    <a:pt x="52" y="36"/>
                    <a:pt x="55" y="38"/>
                    <a:pt x="55" y="44"/>
                  </a:cubicBezTo>
                  <a:cubicBezTo>
                    <a:pt x="55" y="49"/>
                    <a:pt x="52" y="51"/>
                    <a:pt x="45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17" y="51"/>
                    <a:pt x="14" y="49"/>
                    <a:pt x="14" y="44"/>
                  </a:cubicBezTo>
                  <a:cubicBezTo>
                    <a:pt x="14" y="38"/>
                    <a:pt x="17" y="36"/>
                    <a:pt x="24" y="36"/>
                  </a:cubicBezTo>
                  <a:lnTo>
                    <a:pt x="45" y="36"/>
                  </a:lnTo>
                  <a:close/>
                  <a:moveTo>
                    <a:pt x="14" y="32"/>
                  </a:moveTo>
                  <a:cubicBezTo>
                    <a:pt x="14" y="19"/>
                    <a:pt x="14" y="19"/>
                    <a:pt x="14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31" y="10"/>
                  </a:moveTo>
                  <a:cubicBezTo>
                    <a:pt x="31" y="5"/>
                    <a:pt x="31" y="5"/>
                    <a:pt x="3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5"/>
                    <a:pt x="19" y="6"/>
                    <a:pt x="19" y="8"/>
                  </a:cubicBezTo>
                  <a:cubicBezTo>
                    <a:pt x="19" y="9"/>
                    <a:pt x="20" y="10"/>
                    <a:pt x="22" y="10"/>
                  </a:cubicBezTo>
                  <a:lnTo>
                    <a:pt x="31" y="10"/>
                  </a:lnTo>
                  <a:close/>
                  <a:moveTo>
                    <a:pt x="47" y="10"/>
                  </a:move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7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2" y="0"/>
                    <a:pt x="55" y="3"/>
                    <a:pt x="55" y="8"/>
                  </a:cubicBezTo>
                  <a:cubicBezTo>
                    <a:pt x="55" y="13"/>
                    <a:pt x="52" y="15"/>
                    <a:pt x="45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7" y="15"/>
                    <a:pt x="14" y="13"/>
                    <a:pt x="14" y="8"/>
                  </a:cubicBezTo>
                  <a:cubicBezTo>
                    <a:pt x="14" y="3"/>
                    <a:pt x="17" y="0"/>
                    <a:pt x="2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47" y="10"/>
                    <a:pt x="47" y="10"/>
                    <a:pt x="47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auto">
            <a:xfrm>
              <a:off x="8304213" y="3004356"/>
              <a:ext cx="158750" cy="295275"/>
            </a:xfrm>
            <a:custGeom>
              <a:avLst/>
              <a:gdLst/>
              <a:ahLst/>
              <a:cxnLst>
                <a:cxn ang="0">
                  <a:pos x="20" y="132"/>
                </a:cxn>
                <a:cxn ang="0">
                  <a:pos x="48" y="135"/>
                </a:cxn>
                <a:cxn ang="0">
                  <a:pos x="48" y="130"/>
                </a:cxn>
                <a:cxn ang="0">
                  <a:pos x="40" y="125"/>
                </a:cxn>
                <a:cxn ang="0">
                  <a:pos x="56" y="132"/>
                </a:cxn>
                <a:cxn ang="0">
                  <a:pos x="25" y="139"/>
                </a:cxn>
                <a:cxn ang="0">
                  <a:pos x="25" y="125"/>
                </a:cxn>
                <a:cxn ang="0">
                  <a:pos x="30" y="130"/>
                </a:cxn>
                <a:cxn ang="0">
                  <a:pos x="23" y="111"/>
                </a:cxn>
                <a:cxn ang="0">
                  <a:pos x="23" y="116"/>
                </a:cxn>
                <a:cxn ang="0">
                  <a:pos x="56" y="121"/>
                </a:cxn>
                <a:cxn ang="0">
                  <a:pos x="0" y="116"/>
                </a:cxn>
                <a:cxn ang="0">
                  <a:pos x="15" y="112"/>
                </a:cxn>
                <a:cxn ang="0">
                  <a:pos x="56" y="106"/>
                </a:cxn>
                <a:cxn ang="0">
                  <a:pos x="23" y="111"/>
                </a:cxn>
                <a:cxn ang="0">
                  <a:pos x="20" y="95"/>
                </a:cxn>
                <a:cxn ang="0">
                  <a:pos x="48" y="97"/>
                </a:cxn>
                <a:cxn ang="0">
                  <a:pos x="48" y="92"/>
                </a:cxn>
                <a:cxn ang="0">
                  <a:pos x="47" y="87"/>
                </a:cxn>
                <a:cxn ang="0">
                  <a:pos x="47" y="102"/>
                </a:cxn>
                <a:cxn ang="0">
                  <a:pos x="15" y="95"/>
                </a:cxn>
                <a:cxn ang="0">
                  <a:pos x="47" y="87"/>
                </a:cxn>
                <a:cxn ang="0">
                  <a:pos x="0" y="78"/>
                </a:cxn>
                <a:cxn ang="0">
                  <a:pos x="30" y="77"/>
                </a:cxn>
                <a:cxn ang="0">
                  <a:pos x="15" y="67"/>
                </a:cxn>
                <a:cxn ang="0">
                  <a:pos x="56" y="67"/>
                </a:cxn>
                <a:cxn ang="0">
                  <a:pos x="41" y="77"/>
                </a:cxn>
                <a:cxn ang="0">
                  <a:pos x="56" y="78"/>
                </a:cxn>
                <a:cxn ang="0">
                  <a:pos x="0" y="83"/>
                </a:cxn>
                <a:cxn ang="0">
                  <a:pos x="15" y="55"/>
                </a:cxn>
                <a:cxn ang="0">
                  <a:pos x="20" y="57"/>
                </a:cxn>
                <a:cxn ang="0">
                  <a:pos x="56" y="59"/>
                </a:cxn>
                <a:cxn ang="0">
                  <a:pos x="15" y="64"/>
                </a:cxn>
                <a:cxn ang="0">
                  <a:pos x="17" y="59"/>
                </a:cxn>
                <a:cxn ang="0">
                  <a:pos x="39" y="44"/>
                </a:cxn>
                <a:cxn ang="0">
                  <a:pos x="44" y="47"/>
                </a:cxn>
                <a:cxn ang="0">
                  <a:pos x="52" y="45"/>
                </a:cxn>
                <a:cxn ang="0">
                  <a:pos x="38" y="42"/>
                </a:cxn>
                <a:cxn ang="0">
                  <a:pos x="36" y="49"/>
                </a:cxn>
                <a:cxn ang="0">
                  <a:pos x="32" y="42"/>
                </a:cxn>
                <a:cxn ang="0">
                  <a:pos x="20" y="45"/>
                </a:cxn>
                <a:cxn ang="0">
                  <a:pos x="30" y="47"/>
                </a:cxn>
                <a:cxn ang="0">
                  <a:pos x="25" y="52"/>
                </a:cxn>
                <a:cxn ang="0">
                  <a:pos x="25" y="38"/>
                </a:cxn>
                <a:cxn ang="0">
                  <a:pos x="56" y="42"/>
                </a:cxn>
                <a:cxn ang="0">
                  <a:pos x="56" y="46"/>
                </a:cxn>
                <a:cxn ang="0">
                  <a:pos x="43" y="52"/>
                </a:cxn>
                <a:cxn ang="0">
                  <a:pos x="20" y="26"/>
                </a:cxn>
                <a:cxn ang="0">
                  <a:pos x="56" y="28"/>
                </a:cxn>
                <a:cxn ang="0">
                  <a:pos x="15" y="33"/>
                </a:cxn>
                <a:cxn ang="0">
                  <a:pos x="17" y="28"/>
                </a:cxn>
                <a:cxn ang="0">
                  <a:pos x="25" y="19"/>
                </a:cxn>
                <a:cxn ang="0">
                  <a:pos x="56" y="24"/>
                </a:cxn>
                <a:cxn ang="0">
                  <a:pos x="32" y="10"/>
                </a:cxn>
                <a:cxn ang="0">
                  <a:pos x="23" y="5"/>
                </a:cxn>
                <a:cxn ang="0">
                  <a:pos x="23" y="10"/>
                </a:cxn>
                <a:cxn ang="0">
                  <a:pos x="48" y="10"/>
                </a:cxn>
                <a:cxn ang="0">
                  <a:pos x="48" y="5"/>
                </a:cxn>
                <a:cxn ang="0">
                  <a:pos x="40" y="0"/>
                </a:cxn>
                <a:cxn ang="0">
                  <a:pos x="56" y="7"/>
                </a:cxn>
                <a:cxn ang="0">
                  <a:pos x="25" y="14"/>
                </a:cxn>
                <a:cxn ang="0">
                  <a:pos x="25" y="0"/>
                </a:cxn>
                <a:cxn ang="0">
                  <a:pos x="36" y="10"/>
                </a:cxn>
              </a:cxnLst>
              <a:rect l="0" t="0" r="r" b="b"/>
              <a:pathLst>
                <a:path w="56" h="139">
                  <a:moveTo>
                    <a:pt x="23" y="130"/>
                  </a:moveTo>
                  <a:cubicBezTo>
                    <a:pt x="21" y="130"/>
                    <a:pt x="20" y="131"/>
                    <a:pt x="20" y="132"/>
                  </a:cubicBezTo>
                  <a:cubicBezTo>
                    <a:pt x="20" y="134"/>
                    <a:pt x="21" y="135"/>
                    <a:pt x="23" y="135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50" y="135"/>
                    <a:pt x="52" y="134"/>
                    <a:pt x="52" y="132"/>
                  </a:cubicBezTo>
                  <a:cubicBezTo>
                    <a:pt x="52" y="131"/>
                    <a:pt x="50" y="130"/>
                    <a:pt x="48" y="130"/>
                  </a:cubicBezTo>
                  <a:cubicBezTo>
                    <a:pt x="40" y="130"/>
                    <a:pt x="40" y="130"/>
                    <a:pt x="40" y="130"/>
                  </a:cubicBezTo>
                  <a:cubicBezTo>
                    <a:pt x="40" y="125"/>
                    <a:pt x="40" y="125"/>
                    <a:pt x="40" y="125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53" y="125"/>
                    <a:pt x="56" y="127"/>
                    <a:pt x="56" y="132"/>
                  </a:cubicBezTo>
                  <a:cubicBezTo>
                    <a:pt x="56" y="137"/>
                    <a:pt x="53" y="139"/>
                    <a:pt x="47" y="139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18" y="139"/>
                    <a:pt x="15" y="137"/>
                    <a:pt x="15" y="132"/>
                  </a:cubicBezTo>
                  <a:cubicBezTo>
                    <a:pt x="15" y="127"/>
                    <a:pt x="18" y="125"/>
                    <a:pt x="25" y="125"/>
                  </a:cubicBezTo>
                  <a:cubicBezTo>
                    <a:pt x="30" y="125"/>
                    <a:pt x="30" y="125"/>
                    <a:pt x="30" y="125"/>
                  </a:cubicBezTo>
                  <a:cubicBezTo>
                    <a:pt x="30" y="130"/>
                    <a:pt x="30" y="130"/>
                    <a:pt x="30" y="130"/>
                  </a:cubicBezTo>
                  <a:lnTo>
                    <a:pt x="23" y="130"/>
                  </a:lnTo>
                  <a:close/>
                  <a:moveTo>
                    <a:pt x="23" y="111"/>
                  </a:moveTo>
                  <a:cubicBezTo>
                    <a:pt x="21" y="111"/>
                    <a:pt x="20" y="112"/>
                    <a:pt x="20" y="113"/>
                  </a:cubicBezTo>
                  <a:cubicBezTo>
                    <a:pt x="20" y="115"/>
                    <a:pt x="21" y="116"/>
                    <a:pt x="23" y="116"/>
                  </a:cubicBezTo>
                  <a:cubicBezTo>
                    <a:pt x="56" y="116"/>
                    <a:pt x="56" y="116"/>
                    <a:pt x="56" y="116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6" y="115"/>
                    <a:pt x="15" y="114"/>
                    <a:pt x="15" y="112"/>
                  </a:cubicBezTo>
                  <a:cubicBezTo>
                    <a:pt x="15" y="108"/>
                    <a:pt x="18" y="106"/>
                    <a:pt x="25" y="106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56" y="111"/>
                    <a:pt x="56" y="111"/>
                    <a:pt x="56" y="111"/>
                  </a:cubicBezTo>
                  <a:cubicBezTo>
                    <a:pt x="23" y="111"/>
                    <a:pt x="23" y="111"/>
                    <a:pt x="23" y="111"/>
                  </a:cubicBezTo>
                  <a:close/>
                  <a:moveTo>
                    <a:pt x="23" y="92"/>
                  </a:moveTo>
                  <a:cubicBezTo>
                    <a:pt x="21" y="92"/>
                    <a:pt x="20" y="93"/>
                    <a:pt x="20" y="95"/>
                  </a:cubicBezTo>
                  <a:cubicBezTo>
                    <a:pt x="20" y="96"/>
                    <a:pt x="21" y="97"/>
                    <a:pt x="23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50" y="97"/>
                    <a:pt x="52" y="96"/>
                    <a:pt x="52" y="95"/>
                  </a:cubicBezTo>
                  <a:cubicBezTo>
                    <a:pt x="52" y="93"/>
                    <a:pt x="50" y="92"/>
                    <a:pt x="48" y="92"/>
                  </a:cubicBezTo>
                  <a:lnTo>
                    <a:pt x="23" y="92"/>
                  </a:lnTo>
                  <a:close/>
                  <a:moveTo>
                    <a:pt x="47" y="87"/>
                  </a:moveTo>
                  <a:cubicBezTo>
                    <a:pt x="53" y="87"/>
                    <a:pt x="56" y="90"/>
                    <a:pt x="56" y="95"/>
                  </a:cubicBezTo>
                  <a:cubicBezTo>
                    <a:pt x="56" y="99"/>
                    <a:pt x="53" y="102"/>
                    <a:pt x="47" y="102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18" y="102"/>
                    <a:pt x="15" y="99"/>
                    <a:pt x="15" y="95"/>
                  </a:cubicBezTo>
                  <a:cubicBezTo>
                    <a:pt x="15" y="90"/>
                    <a:pt x="18" y="87"/>
                    <a:pt x="25" y="87"/>
                  </a:cubicBezTo>
                  <a:lnTo>
                    <a:pt x="47" y="87"/>
                  </a:lnTo>
                  <a:close/>
                  <a:moveTo>
                    <a:pt x="0" y="83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0" y="83"/>
                    <a:pt x="0" y="83"/>
                    <a:pt x="0" y="83"/>
                  </a:cubicBezTo>
                  <a:close/>
                  <a:moveTo>
                    <a:pt x="17" y="59"/>
                  </a:moveTo>
                  <a:cubicBezTo>
                    <a:pt x="16" y="59"/>
                    <a:pt x="15" y="58"/>
                    <a:pt x="15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6"/>
                    <a:pt x="20" y="56"/>
                    <a:pt x="20" y="57"/>
                  </a:cubicBezTo>
                  <a:cubicBezTo>
                    <a:pt x="20" y="59"/>
                    <a:pt x="21" y="59"/>
                    <a:pt x="23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7" y="59"/>
                    <a:pt x="17" y="59"/>
                    <a:pt x="17" y="59"/>
                  </a:cubicBezTo>
                  <a:close/>
                  <a:moveTo>
                    <a:pt x="38" y="42"/>
                  </a:moveTo>
                  <a:cubicBezTo>
                    <a:pt x="38" y="43"/>
                    <a:pt x="39" y="44"/>
                    <a:pt x="39" y="44"/>
                  </a:cubicBezTo>
                  <a:cubicBezTo>
                    <a:pt x="39" y="45"/>
                    <a:pt x="39" y="45"/>
                    <a:pt x="40" y="46"/>
                  </a:cubicBezTo>
                  <a:cubicBezTo>
                    <a:pt x="41" y="47"/>
                    <a:pt x="42" y="47"/>
                    <a:pt x="44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0" y="47"/>
                    <a:pt x="52" y="47"/>
                    <a:pt x="52" y="45"/>
                  </a:cubicBezTo>
                  <a:cubicBezTo>
                    <a:pt x="52" y="44"/>
                    <a:pt x="50" y="42"/>
                    <a:pt x="48" y="42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43" y="52"/>
                  </a:moveTo>
                  <a:cubicBezTo>
                    <a:pt x="40" y="52"/>
                    <a:pt x="38" y="51"/>
                    <a:pt x="36" y="49"/>
                  </a:cubicBezTo>
                  <a:cubicBezTo>
                    <a:pt x="35" y="47"/>
                    <a:pt x="34" y="46"/>
                    <a:pt x="34" y="45"/>
                  </a:cubicBezTo>
                  <a:cubicBezTo>
                    <a:pt x="33" y="44"/>
                    <a:pt x="32" y="44"/>
                    <a:pt x="32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2"/>
                    <a:pt x="20" y="44"/>
                    <a:pt x="20" y="45"/>
                  </a:cubicBezTo>
                  <a:cubicBezTo>
                    <a:pt x="20" y="46"/>
                    <a:pt x="21" y="47"/>
                    <a:pt x="23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18" y="52"/>
                    <a:pt x="15" y="49"/>
                    <a:pt x="15" y="45"/>
                  </a:cubicBezTo>
                  <a:cubicBezTo>
                    <a:pt x="15" y="40"/>
                    <a:pt x="18" y="38"/>
                    <a:pt x="25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6" y="44"/>
                    <a:pt x="56" y="45"/>
                    <a:pt x="56" y="46"/>
                  </a:cubicBezTo>
                  <a:cubicBezTo>
                    <a:pt x="56" y="50"/>
                    <a:pt x="53" y="52"/>
                    <a:pt x="47" y="52"/>
                  </a:cubicBezTo>
                  <a:cubicBezTo>
                    <a:pt x="43" y="52"/>
                    <a:pt x="43" y="52"/>
                    <a:pt x="43" y="52"/>
                  </a:cubicBezTo>
                  <a:close/>
                  <a:moveTo>
                    <a:pt x="23" y="24"/>
                  </a:moveTo>
                  <a:cubicBezTo>
                    <a:pt x="21" y="24"/>
                    <a:pt x="20" y="24"/>
                    <a:pt x="20" y="26"/>
                  </a:cubicBezTo>
                  <a:cubicBezTo>
                    <a:pt x="20" y="28"/>
                    <a:pt x="21" y="28"/>
                    <a:pt x="23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5" y="27"/>
                    <a:pt x="15" y="24"/>
                  </a:cubicBezTo>
                  <a:cubicBezTo>
                    <a:pt x="15" y="21"/>
                    <a:pt x="18" y="19"/>
                    <a:pt x="25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23" y="24"/>
                    <a:pt x="23" y="24"/>
                    <a:pt x="23" y="24"/>
                  </a:cubicBezTo>
                  <a:close/>
                  <a:moveTo>
                    <a:pt x="32" y="10"/>
                  </a:moveTo>
                  <a:cubicBezTo>
                    <a:pt x="32" y="5"/>
                    <a:pt x="32" y="5"/>
                    <a:pt x="32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5"/>
                    <a:pt x="20" y="5"/>
                    <a:pt x="20" y="7"/>
                  </a:cubicBezTo>
                  <a:cubicBezTo>
                    <a:pt x="20" y="9"/>
                    <a:pt x="21" y="10"/>
                    <a:pt x="23" y="10"/>
                  </a:cubicBezTo>
                  <a:lnTo>
                    <a:pt x="32" y="10"/>
                  </a:lnTo>
                  <a:close/>
                  <a:moveTo>
                    <a:pt x="48" y="10"/>
                  </a:moveTo>
                  <a:cubicBezTo>
                    <a:pt x="50" y="10"/>
                    <a:pt x="52" y="9"/>
                    <a:pt x="52" y="7"/>
                  </a:cubicBezTo>
                  <a:cubicBezTo>
                    <a:pt x="52" y="5"/>
                    <a:pt x="50" y="5"/>
                    <a:pt x="48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3" y="0"/>
                    <a:pt x="56" y="3"/>
                    <a:pt x="56" y="7"/>
                  </a:cubicBezTo>
                  <a:cubicBezTo>
                    <a:pt x="56" y="12"/>
                    <a:pt x="53" y="14"/>
                    <a:pt x="47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18" y="14"/>
                    <a:pt x="15" y="12"/>
                    <a:pt x="15" y="7"/>
                  </a:cubicBezTo>
                  <a:cubicBezTo>
                    <a:pt x="15" y="3"/>
                    <a:pt x="18" y="0"/>
                    <a:pt x="2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48" y="10"/>
                    <a:pt x="48" y="10"/>
                    <a:pt x="48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/>
          </p:nvSpPr>
          <p:spPr bwMode="auto">
            <a:xfrm>
              <a:off x="5141914" y="2172108"/>
              <a:ext cx="366713" cy="119063"/>
            </a:xfrm>
            <a:custGeom>
              <a:avLst/>
              <a:gdLst/>
              <a:ahLst/>
              <a:cxnLst>
                <a:cxn ang="0">
                  <a:pos x="14" y="22"/>
                </a:cxn>
                <a:cxn ang="0">
                  <a:pos x="9" y="22"/>
                </a:cxn>
                <a:cxn ang="0">
                  <a:pos x="5" y="56"/>
                </a:cxn>
                <a:cxn ang="0">
                  <a:pos x="5" y="14"/>
                </a:cxn>
                <a:cxn ang="0">
                  <a:pos x="13" y="17"/>
                </a:cxn>
                <a:cxn ang="0">
                  <a:pos x="24" y="56"/>
                </a:cxn>
                <a:cxn ang="0">
                  <a:pos x="33" y="7"/>
                </a:cxn>
                <a:cxn ang="0">
                  <a:pos x="33" y="0"/>
                </a:cxn>
                <a:cxn ang="0">
                  <a:pos x="28" y="56"/>
                </a:cxn>
                <a:cxn ang="0">
                  <a:pos x="33" y="56"/>
                </a:cxn>
                <a:cxn ang="0">
                  <a:pos x="42" y="22"/>
                </a:cxn>
                <a:cxn ang="0">
                  <a:pos x="51" y="45"/>
                </a:cxn>
                <a:cxn ang="0">
                  <a:pos x="37" y="43"/>
                </a:cxn>
                <a:cxn ang="0">
                  <a:pos x="43" y="51"/>
                </a:cxn>
                <a:cxn ang="0">
                  <a:pos x="41" y="36"/>
                </a:cxn>
                <a:cxn ang="0">
                  <a:pos x="50" y="25"/>
                </a:cxn>
                <a:cxn ang="0">
                  <a:pos x="46" y="22"/>
                </a:cxn>
                <a:cxn ang="0">
                  <a:pos x="61" y="39"/>
                </a:cxn>
                <a:cxn ang="0">
                  <a:pos x="61" y="51"/>
                </a:cxn>
                <a:cxn ang="0">
                  <a:pos x="54" y="43"/>
                </a:cxn>
                <a:cxn ang="0">
                  <a:pos x="64" y="31"/>
                </a:cxn>
                <a:cxn ang="0">
                  <a:pos x="60" y="22"/>
                </a:cxn>
                <a:cxn ang="0">
                  <a:pos x="55" y="24"/>
                </a:cxn>
                <a:cxn ang="0">
                  <a:pos x="69" y="56"/>
                </a:cxn>
                <a:cxn ang="0">
                  <a:pos x="60" y="56"/>
                </a:cxn>
                <a:cxn ang="0">
                  <a:pos x="83" y="22"/>
                </a:cxn>
                <a:cxn ang="0">
                  <a:pos x="78" y="48"/>
                </a:cxn>
                <a:cxn ang="0">
                  <a:pos x="83" y="22"/>
                </a:cxn>
                <a:cxn ang="0">
                  <a:pos x="73" y="46"/>
                </a:cxn>
                <a:cxn ang="0">
                  <a:pos x="88" y="24"/>
                </a:cxn>
                <a:cxn ang="0">
                  <a:pos x="92" y="14"/>
                </a:cxn>
                <a:cxn ang="0">
                  <a:pos x="97" y="14"/>
                </a:cxn>
                <a:cxn ang="0">
                  <a:pos x="97" y="19"/>
                </a:cxn>
                <a:cxn ang="0">
                  <a:pos x="100" y="56"/>
                </a:cxn>
                <a:cxn ang="0">
                  <a:pos x="90" y="19"/>
                </a:cxn>
                <a:cxn ang="0">
                  <a:pos x="112" y="14"/>
                </a:cxn>
                <a:cxn ang="0">
                  <a:pos x="108" y="22"/>
                </a:cxn>
                <a:cxn ang="0">
                  <a:pos x="103" y="14"/>
                </a:cxn>
                <a:cxn ang="0">
                  <a:pos x="125" y="37"/>
                </a:cxn>
                <a:cxn ang="0">
                  <a:pos x="120" y="43"/>
                </a:cxn>
                <a:cxn ang="0">
                  <a:pos x="125" y="48"/>
                </a:cxn>
                <a:cxn ang="0">
                  <a:pos x="119" y="35"/>
                </a:cxn>
                <a:cxn ang="0">
                  <a:pos x="125" y="22"/>
                </a:cxn>
                <a:cxn ang="0">
                  <a:pos x="120" y="30"/>
                </a:cxn>
                <a:cxn ang="0">
                  <a:pos x="123" y="14"/>
                </a:cxn>
                <a:cxn ang="0">
                  <a:pos x="125" y="56"/>
                </a:cxn>
                <a:cxn ang="0">
                  <a:pos x="115" y="46"/>
                </a:cxn>
              </a:cxnLst>
              <a:rect l="0" t="0" r="r" b="b"/>
              <a:pathLst>
                <a:path w="129" h="56">
                  <a:moveTo>
                    <a:pt x="19" y="22"/>
                  </a:moveTo>
                  <a:cubicBezTo>
                    <a:pt x="19" y="20"/>
                    <a:pt x="18" y="19"/>
                    <a:pt x="16" y="19"/>
                  </a:cubicBezTo>
                  <a:cubicBezTo>
                    <a:pt x="15" y="19"/>
                    <a:pt x="14" y="20"/>
                    <a:pt x="14" y="22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6" y="14"/>
                    <a:pt x="9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7"/>
                  </a:moveTo>
                  <a:cubicBezTo>
                    <a:pt x="28" y="7"/>
                    <a:pt x="28" y="7"/>
                    <a:pt x="28" y="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7"/>
                  </a:lnTo>
                  <a:close/>
                  <a:moveTo>
                    <a:pt x="33" y="56"/>
                  </a:moveTo>
                  <a:cubicBezTo>
                    <a:pt x="28" y="56"/>
                    <a:pt x="28" y="56"/>
                    <a:pt x="28" y="5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6"/>
                  </a:lnTo>
                  <a:close/>
                  <a:moveTo>
                    <a:pt x="46" y="22"/>
                  </a:moveTo>
                  <a:cubicBezTo>
                    <a:pt x="46" y="20"/>
                    <a:pt x="44" y="19"/>
                    <a:pt x="43" y="19"/>
                  </a:cubicBezTo>
                  <a:cubicBezTo>
                    <a:pt x="42" y="19"/>
                    <a:pt x="42" y="20"/>
                    <a:pt x="42" y="22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8"/>
                    <a:pt x="43" y="30"/>
                    <a:pt x="46" y="34"/>
                  </a:cubicBezTo>
                  <a:cubicBezTo>
                    <a:pt x="49" y="38"/>
                    <a:pt x="51" y="42"/>
                    <a:pt x="51" y="45"/>
                  </a:cubicBezTo>
                  <a:cubicBezTo>
                    <a:pt x="51" y="52"/>
                    <a:pt x="48" y="56"/>
                    <a:pt x="43" y="56"/>
                  </a:cubicBezTo>
                  <a:cubicBezTo>
                    <a:pt x="39" y="56"/>
                    <a:pt x="37" y="52"/>
                    <a:pt x="37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50"/>
                    <a:pt x="42" y="51"/>
                    <a:pt x="43" y="51"/>
                  </a:cubicBezTo>
                  <a:cubicBezTo>
                    <a:pt x="45" y="51"/>
                    <a:pt x="46" y="50"/>
                    <a:pt x="46" y="48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2"/>
                    <a:pt x="44" y="39"/>
                    <a:pt x="41" y="36"/>
                  </a:cubicBezTo>
                  <a:cubicBezTo>
                    <a:pt x="38" y="33"/>
                    <a:pt x="37" y="29"/>
                    <a:pt x="37" y="25"/>
                  </a:cubicBezTo>
                  <a:cubicBezTo>
                    <a:pt x="37" y="18"/>
                    <a:pt x="39" y="14"/>
                    <a:pt x="43" y="14"/>
                  </a:cubicBezTo>
                  <a:cubicBezTo>
                    <a:pt x="48" y="14"/>
                    <a:pt x="50" y="18"/>
                    <a:pt x="50" y="25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64" y="37"/>
                  </a:moveTo>
                  <a:cubicBezTo>
                    <a:pt x="64" y="37"/>
                    <a:pt x="62" y="38"/>
                    <a:pt x="62" y="38"/>
                  </a:cubicBezTo>
                  <a:cubicBezTo>
                    <a:pt x="61" y="38"/>
                    <a:pt x="61" y="39"/>
                    <a:pt x="61" y="39"/>
                  </a:cubicBezTo>
                  <a:cubicBezTo>
                    <a:pt x="60" y="40"/>
                    <a:pt x="59" y="41"/>
                    <a:pt x="59" y="43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50"/>
                    <a:pt x="60" y="51"/>
                    <a:pt x="61" y="51"/>
                  </a:cubicBezTo>
                  <a:cubicBezTo>
                    <a:pt x="63" y="51"/>
                    <a:pt x="64" y="50"/>
                    <a:pt x="64" y="48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54" y="43"/>
                  </a:moveTo>
                  <a:cubicBezTo>
                    <a:pt x="54" y="39"/>
                    <a:pt x="56" y="37"/>
                    <a:pt x="58" y="35"/>
                  </a:cubicBezTo>
                  <a:cubicBezTo>
                    <a:pt x="59" y="34"/>
                    <a:pt x="60" y="33"/>
                    <a:pt x="61" y="33"/>
                  </a:cubicBezTo>
                  <a:cubicBezTo>
                    <a:pt x="62" y="32"/>
                    <a:pt x="63" y="32"/>
                    <a:pt x="64" y="31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3" y="19"/>
                    <a:pt x="62" y="19"/>
                  </a:cubicBezTo>
                  <a:cubicBezTo>
                    <a:pt x="60" y="19"/>
                    <a:pt x="60" y="20"/>
                    <a:pt x="60" y="22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17"/>
                    <a:pt x="57" y="14"/>
                    <a:pt x="62" y="14"/>
                  </a:cubicBezTo>
                  <a:cubicBezTo>
                    <a:pt x="66" y="14"/>
                    <a:pt x="69" y="17"/>
                    <a:pt x="69" y="24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3" y="55"/>
                    <a:pt x="62" y="56"/>
                    <a:pt x="60" y="56"/>
                  </a:cubicBezTo>
                  <a:cubicBezTo>
                    <a:pt x="56" y="56"/>
                    <a:pt x="54" y="52"/>
                    <a:pt x="54" y="46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83" y="22"/>
                  </a:moveTo>
                  <a:cubicBezTo>
                    <a:pt x="83" y="20"/>
                    <a:pt x="82" y="19"/>
                    <a:pt x="80" y="19"/>
                  </a:cubicBezTo>
                  <a:cubicBezTo>
                    <a:pt x="79" y="19"/>
                    <a:pt x="78" y="20"/>
                    <a:pt x="78" y="22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50"/>
                    <a:pt x="79" y="51"/>
                    <a:pt x="80" y="51"/>
                  </a:cubicBezTo>
                  <a:cubicBezTo>
                    <a:pt x="82" y="51"/>
                    <a:pt x="83" y="50"/>
                    <a:pt x="83" y="48"/>
                  </a:cubicBezTo>
                  <a:lnTo>
                    <a:pt x="83" y="22"/>
                  </a:lnTo>
                  <a:close/>
                  <a:moveTo>
                    <a:pt x="88" y="46"/>
                  </a:moveTo>
                  <a:cubicBezTo>
                    <a:pt x="88" y="52"/>
                    <a:pt x="85" y="56"/>
                    <a:pt x="80" y="56"/>
                  </a:cubicBezTo>
                  <a:cubicBezTo>
                    <a:pt x="75" y="56"/>
                    <a:pt x="73" y="52"/>
                    <a:pt x="73" y="46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17"/>
                    <a:pt x="75" y="14"/>
                    <a:pt x="80" y="14"/>
                  </a:cubicBezTo>
                  <a:cubicBezTo>
                    <a:pt x="85" y="14"/>
                    <a:pt x="88" y="17"/>
                    <a:pt x="88" y="24"/>
                  </a:cubicBezTo>
                  <a:lnTo>
                    <a:pt x="88" y="46"/>
                  </a:lnTo>
                  <a:close/>
                  <a:moveTo>
                    <a:pt x="90" y="14"/>
                  </a:moveTo>
                  <a:cubicBezTo>
                    <a:pt x="92" y="14"/>
                    <a:pt x="92" y="14"/>
                    <a:pt x="92" y="14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50"/>
                    <a:pt x="98" y="51"/>
                    <a:pt x="100" y="51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94" y="56"/>
                    <a:pt x="92" y="52"/>
                    <a:pt x="92" y="46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lnTo>
                    <a:pt x="90" y="14"/>
                  </a:lnTo>
                  <a:close/>
                  <a:moveTo>
                    <a:pt x="108" y="16"/>
                  </a:moveTo>
                  <a:cubicBezTo>
                    <a:pt x="109" y="15"/>
                    <a:pt x="110" y="14"/>
                    <a:pt x="112" y="14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1" y="20"/>
                    <a:pt x="111" y="19"/>
                    <a:pt x="110" y="19"/>
                  </a:cubicBezTo>
                  <a:cubicBezTo>
                    <a:pt x="109" y="19"/>
                    <a:pt x="108" y="20"/>
                    <a:pt x="108" y="22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3" y="56"/>
                    <a:pt x="103" y="56"/>
                    <a:pt x="103" y="56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16"/>
                    <a:pt x="108" y="16"/>
                    <a:pt x="108" y="16"/>
                  </a:cubicBezTo>
                  <a:close/>
                  <a:moveTo>
                    <a:pt x="125" y="37"/>
                  </a:moveTo>
                  <a:cubicBezTo>
                    <a:pt x="124" y="37"/>
                    <a:pt x="123" y="38"/>
                    <a:pt x="123" y="38"/>
                  </a:cubicBezTo>
                  <a:cubicBezTo>
                    <a:pt x="122" y="38"/>
                    <a:pt x="122" y="39"/>
                    <a:pt x="121" y="39"/>
                  </a:cubicBezTo>
                  <a:cubicBezTo>
                    <a:pt x="120" y="40"/>
                    <a:pt x="120" y="41"/>
                    <a:pt x="120" y="43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50"/>
                    <a:pt x="120" y="51"/>
                    <a:pt x="122" y="51"/>
                  </a:cubicBezTo>
                  <a:cubicBezTo>
                    <a:pt x="124" y="51"/>
                    <a:pt x="125" y="50"/>
                    <a:pt x="125" y="48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15" y="43"/>
                  </a:moveTo>
                  <a:cubicBezTo>
                    <a:pt x="115" y="39"/>
                    <a:pt x="116" y="37"/>
                    <a:pt x="119" y="35"/>
                  </a:cubicBezTo>
                  <a:cubicBezTo>
                    <a:pt x="120" y="34"/>
                    <a:pt x="121" y="33"/>
                    <a:pt x="122" y="33"/>
                  </a:cubicBezTo>
                  <a:cubicBezTo>
                    <a:pt x="123" y="32"/>
                    <a:pt x="124" y="32"/>
                    <a:pt x="125" y="31"/>
                  </a:cubicBezTo>
                  <a:cubicBezTo>
                    <a:pt x="125" y="22"/>
                    <a:pt x="125" y="22"/>
                    <a:pt x="125" y="22"/>
                  </a:cubicBezTo>
                  <a:cubicBezTo>
                    <a:pt x="125" y="20"/>
                    <a:pt x="124" y="19"/>
                    <a:pt x="123" y="19"/>
                  </a:cubicBezTo>
                  <a:cubicBezTo>
                    <a:pt x="121" y="19"/>
                    <a:pt x="120" y="20"/>
                    <a:pt x="120" y="22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17"/>
                    <a:pt x="118" y="14"/>
                    <a:pt x="123" y="14"/>
                  </a:cubicBezTo>
                  <a:cubicBezTo>
                    <a:pt x="127" y="14"/>
                    <a:pt x="129" y="17"/>
                    <a:pt x="129" y="24"/>
                  </a:cubicBezTo>
                  <a:cubicBezTo>
                    <a:pt x="129" y="56"/>
                    <a:pt x="129" y="56"/>
                    <a:pt x="129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3"/>
                    <a:pt x="125" y="53"/>
                    <a:pt x="125" y="53"/>
                  </a:cubicBezTo>
                  <a:cubicBezTo>
                    <a:pt x="124" y="55"/>
                    <a:pt x="123" y="56"/>
                    <a:pt x="121" y="56"/>
                  </a:cubicBezTo>
                  <a:cubicBezTo>
                    <a:pt x="117" y="56"/>
                    <a:pt x="115" y="52"/>
                    <a:pt x="115" y="46"/>
                  </a:cubicBezTo>
                  <a:cubicBezTo>
                    <a:pt x="115" y="43"/>
                    <a:pt x="115" y="43"/>
                    <a:pt x="115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/>
          </p:nvSpPr>
          <p:spPr bwMode="auto">
            <a:xfrm>
              <a:off x="5556252" y="2234021"/>
              <a:ext cx="366713" cy="119063"/>
            </a:xfrm>
            <a:custGeom>
              <a:avLst/>
              <a:gdLst/>
              <a:ahLst/>
              <a:cxnLst>
                <a:cxn ang="0">
                  <a:pos x="16" y="19"/>
                </a:cxn>
                <a:cxn ang="0">
                  <a:pos x="14" y="56"/>
                </a:cxn>
                <a:cxn ang="0">
                  <a:pos x="9" y="22"/>
                </a:cxn>
                <a:cxn ang="0">
                  <a:pos x="4" y="22"/>
                </a:cxn>
                <a:cxn ang="0">
                  <a:pos x="0" y="56"/>
                </a:cxn>
                <a:cxn ang="0">
                  <a:pos x="4" y="14"/>
                </a:cxn>
                <a:cxn ang="0">
                  <a:pos x="8" y="14"/>
                </a:cxn>
                <a:cxn ang="0">
                  <a:pos x="18" y="14"/>
                </a:cxn>
                <a:cxn ang="0">
                  <a:pos x="24" y="56"/>
                </a:cxn>
                <a:cxn ang="0">
                  <a:pos x="19" y="22"/>
                </a:cxn>
                <a:cxn ang="0">
                  <a:pos x="36" y="38"/>
                </a:cxn>
                <a:cxn ang="0">
                  <a:pos x="33" y="44"/>
                </a:cxn>
                <a:cxn ang="0">
                  <a:pos x="35" y="51"/>
                </a:cxn>
                <a:cxn ang="0">
                  <a:pos x="38" y="37"/>
                </a:cxn>
                <a:cxn ang="0">
                  <a:pos x="32" y="35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0"/>
                </a:cxn>
                <a:cxn ang="0">
                  <a:pos x="28" y="24"/>
                </a:cxn>
                <a:cxn ang="0">
                  <a:pos x="42" y="24"/>
                </a:cxn>
                <a:cxn ang="0">
                  <a:pos x="38" y="56"/>
                </a:cxn>
                <a:cxn ang="0">
                  <a:pos x="34" y="56"/>
                </a:cxn>
                <a:cxn ang="0">
                  <a:pos x="28" y="43"/>
                </a:cxn>
                <a:cxn ang="0">
                  <a:pos x="47" y="14"/>
                </a:cxn>
                <a:cxn ang="0">
                  <a:pos x="52" y="0"/>
                </a:cxn>
                <a:cxn ang="0">
                  <a:pos x="54" y="14"/>
                </a:cxn>
                <a:cxn ang="0">
                  <a:pos x="52" y="19"/>
                </a:cxn>
                <a:cxn ang="0">
                  <a:pos x="54" y="51"/>
                </a:cxn>
                <a:cxn ang="0">
                  <a:pos x="47" y="46"/>
                </a:cxn>
                <a:cxn ang="0">
                  <a:pos x="45" y="19"/>
                </a:cxn>
                <a:cxn ang="0">
                  <a:pos x="68" y="22"/>
                </a:cxn>
                <a:cxn ang="0">
                  <a:pos x="63" y="22"/>
                </a:cxn>
                <a:cxn ang="0">
                  <a:pos x="65" y="51"/>
                </a:cxn>
                <a:cxn ang="0">
                  <a:pos x="68" y="22"/>
                </a:cxn>
                <a:cxn ang="0">
                  <a:pos x="65" y="56"/>
                </a:cxn>
                <a:cxn ang="0">
                  <a:pos x="58" y="24"/>
                </a:cxn>
                <a:cxn ang="0">
                  <a:pos x="72" y="24"/>
                </a:cxn>
                <a:cxn ang="0">
                  <a:pos x="86" y="22"/>
                </a:cxn>
                <a:cxn ang="0">
                  <a:pos x="82" y="22"/>
                </a:cxn>
                <a:cxn ang="0">
                  <a:pos x="77" y="56"/>
                </a:cxn>
                <a:cxn ang="0">
                  <a:pos x="82" y="14"/>
                </a:cxn>
                <a:cxn ang="0">
                  <a:pos x="86" y="14"/>
                </a:cxn>
                <a:cxn ang="0">
                  <a:pos x="91" y="56"/>
                </a:cxn>
                <a:cxn ang="0">
                  <a:pos x="86" y="22"/>
                </a:cxn>
                <a:cxn ang="0">
                  <a:pos x="103" y="51"/>
                </a:cxn>
                <a:cxn ang="0">
                  <a:pos x="105" y="22"/>
                </a:cxn>
                <a:cxn ang="0">
                  <a:pos x="100" y="22"/>
                </a:cxn>
                <a:cxn ang="0">
                  <a:pos x="110" y="56"/>
                </a:cxn>
                <a:cxn ang="0">
                  <a:pos x="105" y="54"/>
                </a:cxn>
                <a:cxn ang="0">
                  <a:pos x="96" y="46"/>
                </a:cxn>
                <a:cxn ang="0">
                  <a:pos x="101" y="14"/>
                </a:cxn>
                <a:cxn ang="0">
                  <a:pos x="105" y="0"/>
                </a:cxn>
                <a:cxn ang="0">
                  <a:pos x="110" y="56"/>
                </a:cxn>
                <a:cxn ang="0">
                  <a:pos x="122" y="19"/>
                </a:cxn>
                <a:cxn ang="0">
                  <a:pos x="119" y="48"/>
                </a:cxn>
                <a:cxn ang="0">
                  <a:pos x="124" y="48"/>
                </a:cxn>
                <a:cxn ang="0">
                  <a:pos x="129" y="46"/>
                </a:cxn>
                <a:cxn ang="0">
                  <a:pos x="114" y="46"/>
                </a:cxn>
                <a:cxn ang="0">
                  <a:pos x="122" y="14"/>
                </a:cxn>
                <a:cxn ang="0">
                  <a:pos x="129" y="46"/>
                </a:cxn>
              </a:cxnLst>
              <a:rect l="0" t="0" r="r" b="b"/>
              <a:pathLst>
                <a:path w="129" h="56">
                  <a:moveTo>
                    <a:pt x="19" y="22"/>
                  </a:moveTo>
                  <a:cubicBezTo>
                    <a:pt x="19" y="21"/>
                    <a:pt x="18" y="19"/>
                    <a:pt x="16" y="19"/>
                  </a:cubicBezTo>
                  <a:cubicBezTo>
                    <a:pt x="15" y="19"/>
                    <a:pt x="14" y="21"/>
                    <a:pt x="14" y="22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1"/>
                    <a:pt x="9" y="19"/>
                    <a:pt x="7" y="19"/>
                  </a:cubicBezTo>
                  <a:cubicBezTo>
                    <a:pt x="5" y="19"/>
                    <a:pt x="4" y="21"/>
                    <a:pt x="4" y="22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5"/>
                    <a:pt x="6" y="14"/>
                    <a:pt x="8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8"/>
                    <a:pt x="24" y="24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8" y="37"/>
                  </a:moveTo>
                  <a:cubicBezTo>
                    <a:pt x="37" y="37"/>
                    <a:pt x="36" y="38"/>
                    <a:pt x="36" y="38"/>
                  </a:cubicBezTo>
                  <a:cubicBezTo>
                    <a:pt x="35" y="39"/>
                    <a:pt x="35" y="39"/>
                    <a:pt x="34" y="39"/>
                  </a:cubicBezTo>
                  <a:cubicBezTo>
                    <a:pt x="33" y="40"/>
                    <a:pt x="33" y="41"/>
                    <a:pt x="33" y="44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50"/>
                    <a:pt x="33" y="51"/>
                    <a:pt x="35" y="51"/>
                  </a:cubicBezTo>
                  <a:cubicBezTo>
                    <a:pt x="37" y="51"/>
                    <a:pt x="38" y="50"/>
                    <a:pt x="38" y="48"/>
                  </a:cubicBezTo>
                  <a:lnTo>
                    <a:pt x="38" y="37"/>
                  </a:lnTo>
                  <a:close/>
                  <a:moveTo>
                    <a:pt x="28" y="43"/>
                  </a:moveTo>
                  <a:cubicBezTo>
                    <a:pt x="28" y="40"/>
                    <a:pt x="29" y="37"/>
                    <a:pt x="32" y="35"/>
                  </a:cubicBezTo>
                  <a:cubicBezTo>
                    <a:pt x="33" y="35"/>
                    <a:pt x="34" y="33"/>
                    <a:pt x="35" y="33"/>
                  </a:cubicBezTo>
                  <a:cubicBezTo>
                    <a:pt x="36" y="32"/>
                    <a:pt x="37" y="32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1"/>
                    <a:pt x="37" y="19"/>
                    <a:pt x="36" y="19"/>
                  </a:cubicBezTo>
                  <a:cubicBezTo>
                    <a:pt x="34" y="19"/>
                    <a:pt x="33" y="21"/>
                    <a:pt x="33" y="22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8"/>
                    <a:pt x="31" y="14"/>
                    <a:pt x="36" y="14"/>
                  </a:cubicBezTo>
                  <a:cubicBezTo>
                    <a:pt x="40" y="14"/>
                    <a:pt x="42" y="18"/>
                    <a:pt x="42" y="24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5"/>
                    <a:pt x="36" y="56"/>
                    <a:pt x="34" y="56"/>
                  </a:cubicBezTo>
                  <a:cubicBezTo>
                    <a:pt x="30" y="56"/>
                    <a:pt x="28" y="53"/>
                    <a:pt x="28" y="46"/>
                  </a:cubicBezTo>
                  <a:cubicBezTo>
                    <a:pt x="28" y="43"/>
                    <a:pt x="28" y="43"/>
                    <a:pt x="28" y="43"/>
                  </a:cubicBezTo>
                  <a:close/>
                  <a:moveTo>
                    <a:pt x="45" y="14"/>
                  </a:moveTo>
                  <a:cubicBezTo>
                    <a:pt x="47" y="14"/>
                    <a:pt x="47" y="14"/>
                    <a:pt x="47" y="14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2" y="50"/>
                    <a:pt x="52" y="51"/>
                    <a:pt x="54" y="51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7" y="53"/>
                    <a:pt x="47" y="46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4"/>
                    <a:pt x="45" y="14"/>
                    <a:pt x="45" y="14"/>
                  </a:cubicBezTo>
                  <a:close/>
                  <a:moveTo>
                    <a:pt x="68" y="22"/>
                  </a:moveTo>
                  <a:cubicBezTo>
                    <a:pt x="68" y="21"/>
                    <a:pt x="66" y="19"/>
                    <a:pt x="65" y="19"/>
                  </a:cubicBezTo>
                  <a:cubicBezTo>
                    <a:pt x="63" y="19"/>
                    <a:pt x="63" y="21"/>
                    <a:pt x="63" y="22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50"/>
                    <a:pt x="63" y="51"/>
                    <a:pt x="65" y="51"/>
                  </a:cubicBezTo>
                  <a:cubicBezTo>
                    <a:pt x="66" y="51"/>
                    <a:pt x="68" y="50"/>
                    <a:pt x="68" y="48"/>
                  </a:cubicBezTo>
                  <a:lnTo>
                    <a:pt x="68" y="22"/>
                  </a:lnTo>
                  <a:close/>
                  <a:moveTo>
                    <a:pt x="72" y="46"/>
                  </a:moveTo>
                  <a:cubicBezTo>
                    <a:pt x="72" y="53"/>
                    <a:pt x="70" y="56"/>
                    <a:pt x="65" y="56"/>
                  </a:cubicBezTo>
                  <a:cubicBezTo>
                    <a:pt x="60" y="56"/>
                    <a:pt x="58" y="53"/>
                    <a:pt x="58" y="46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18"/>
                    <a:pt x="60" y="14"/>
                    <a:pt x="65" y="14"/>
                  </a:cubicBezTo>
                  <a:cubicBezTo>
                    <a:pt x="70" y="14"/>
                    <a:pt x="72" y="18"/>
                    <a:pt x="72" y="24"/>
                  </a:cubicBezTo>
                  <a:lnTo>
                    <a:pt x="72" y="46"/>
                  </a:lnTo>
                  <a:close/>
                  <a:moveTo>
                    <a:pt x="86" y="22"/>
                  </a:moveTo>
                  <a:cubicBezTo>
                    <a:pt x="86" y="21"/>
                    <a:pt x="86" y="19"/>
                    <a:pt x="84" y="19"/>
                  </a:cubicBezTo>
                  <a:cubicBezTo>
                    <a:pt x="82" y="19"/>
                    <a:pt x="82" y="21"/>
                    <a:pt x="82" y="22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5"/>
                    <a:pt x="83" y="14"/>
                    <a:pt x="86" y="14"/>
                  </a:cubicBezTo>
                  <a:cubicBezTo>
                    <a:pt x="90" y="14"/>
                    <a:pt x="91" y="18"/>
                    <a:pt x="91" y="24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22"/>
                    <a:pt x="86" y="22"/>
                    <a:pt x="86" y="22"/>
                  </a:cubicBezTo>
                  <a:close/>
                  <a:moveTo>
                    <a:pt x="100" y="48"/>
                  </a:moveTo>
                  <a:cubicBezTo>
                    <a:pt x="100" y="50"/>
                    <a:pt x="101" y="51"/>
                    <a:pt x="103" y="51"/>
                  </a:cubicBezTo>
                  <a:cubicBezTo>
                    <a:pt x="105" y="51"/>
                    <a:pt x="105" y="50"/>
                    <a:pt x="105" y="48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105" y="21"/>
                    <a:pt x="105" y="19"/>
                    <a:pt x="103" y="19"/>
                  </a:cubicBezTo>
                  <a:cubicBezTo>
                    <a:pt x="101" y="19"/>
                    <a:pt x="100" y="21"/>
                    <a:pt x="100" y="22"/>
                  </a:cubicBezTo>
                  <a:lnTo>
                    <a:pt x="100" y="48"/>
                  </a:lnTo>
                  <a:close/>
                  <a:moveTo>
                    <a:pt x="110" y="56"/>
                  </a:moveTo>
                  <a:cubicBezTo>
                    <a:pt x="105" y="56"/>
                    <a:pt x="105" y="56"/>
                    <a:pt x="105" y="56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4" y="55"/>
                    <a:pt x="102" y="56"/>
                    <a:pt x="101" y="56"/>
                  </a:cubicBezTo>
                  <a:cubicBezTo>
                    <a:pt x="97" y="56"/>
                    <a:pt x="96" y="53"/>
                    <a:pt x="96" y="46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18"/>
                    <a:pt x="97" y="14"/>
                    <a:pt x="101" y="14"/>
                  </a:cubicBezTo>
                  <a:cubicBezTo>
                    <a:pt x="103" y="14"/>
                    <a:pt x="105" y="15"/>
                    <a:pt x="105" y="16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110" y="56"/>
                  </a:lnTo>
                  <a:close/>
                  <a:moveTo>
                    <a:pt x="124" y="22"/>
                  </a:moveTo>
                  <a:cubicBezTo>
                    <a:pt x="124" y="21"/>
                    <a:pt x="123" y="19"/>
                    <a:pt x="122" y="19"/>
                  </a:cubicBezTo>
                  <a:cubicBezTo>
                    <a:pt x="120" y="19"/>
                    <a:pt x="119" y="21"/>
                    <a:pt x="119" y="22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50"/>
                    <a:pt x="120" y="51"/>
                    <a:pt x="122" y="51"/>
                  </a:cubicBezTo>
                  <a:cubicBezTo>
                    <a:pt x="123" y="51"/>
                    <a:pt x="124" y="50"/>
                    <a:pt x="124" y="48"/>
                  </a:cubicBezTo>
                  <a:lnTo>
                    <a:pt x="124" y="22"/>
                  </a:lnTo>
                  <a:close/>
                  <a:moveTo>
                    <a:pt x="129" y="46"/>
                  </a:moveTo>
                  <a:cubicBezTo>
                    <a:pt x="129" y="53"/>
                    <a:pt x="127" y="56"/>
                    <a:pt x="122" y="56"/>
                  </a:cubicBezTo>
                  <a:cubicBezTo>
                    <a:pt x="117" y="56"/>
                    <a:pt x="114" y="53"/>
                    <a:pt x="114" y="46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14" y="18"/>
                    <a:pt x="117" y="14"/>
                    <a:pt x="122" y="14"/>
                  </a:cubicBezTo>
                  <a:cubicBezTo>
                    <a:pt x="127" y="14"/>
                    <a:pt x="129" y="18"/>
                    <a:pt x="129" y="24"/>
                  </a:cubicBezTo>
                  <a:cubicBezTo>
                    <a:pt x="129" y="46"/>
                    <a:pt x="129" y="46"/>
                    <a:pt x="129" y="4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 noEditPoints="1"/>
            </p:cNvSpPr>
            <p:nvPr/>
          </p:nvSpPr>
          <p:spPr bwMode="auto">
            <a:xfrm>
              <a:off x="4384676" y="3121037"/>
              <a:ext cx="312738" cy="138113"/>
            </a:xfrm>
            <a:custGeom>
              <a:avLst/>
              <a:gdLst/>
              <a:ahLst/>
              <a:cxnLst>
                <a:cxn ang="0">
                  <a:pos x="9" y="47"/>
                </a:cxn>
                <a:cxn ang="0">
                  <a:pos x="5" y="22"/>
                </a:cxn>
                <a:cxn ang="0">
                  <a:pos x="9" y="58"/>
                </a:cxn>
                <a:cxn ang="0">
                  <a:pos x="0" y="45"/>
                </a:cxn>
                <a:cxn ang="0">
                  <a:pos x="9" y="16"/>
                </a:cxn>
                <a:cxn ang="0">
                  <a:pos x="14" y="55"/>
                </a:cxn>
                <a:cxn ang="0">
                  <a:pos x="5" y="58"/>
                </a:cxn>
                <a:cxn ang="0">
                  <a:pos x="28" y="14"/>
                </a:cxn>
                <a:cxn ang="0">
                  <a:pos x="23" y="22"/>
                </a:cxn>
                <a:cxn ang="0">
                  <a:pos x="19" y="14"/>
                </a:cxn>
                <a:cxn ang="0">
                  <a:pos x="40" y="37"/>
                </a:cxn>
                <a:cxn ang="0">
                  <a:pos x="36" y="43"/>
                </a:cxn>
                <a:cxn ang="0">
                  <a:pos x="40" y="48"/>
                </a:cxn>
                <a:cxn ang="0">
                  <a:pos x="34" y="35"/>
                </a:cxn>
                <a:cxn ang="0">
                  <a:pos x="40" y="22"/>
                </a:cxn>
                <a:cxn ang="0">
                  <a:pos x="36" y="30"/>
                </a:cxn>
                <a:cxn ang="0">
                  <a:pos x="38" y="14"/>
                </a:cxn>
                <a:cxn ang="0">
                  <a:pos x="40" y="55"/>
                </a:cxn>
                <a:cxn ang="0">
                  <a:pos x="31" y="45"/>
                </a:cxn>
                <a:cxn ang="0">
                  <a:pos x="40" y="12"/>
                </a:cxn>
                <a:cxn ang="0">
                  <a:pos x="37" y="8"/>
                </a:cxn>
                <a:cxn ang="0">
                  <a:pos x="54" y="22"/>
                </a:cxn>
                <a:cxn ang="0">
                  <a:pos x="59" y="48"/>
                </a:cxn>
                <a:cxn ang="0">
                  <a:pos x="64" y="45"/>
                </a:cxn>
                <a:cxn ang="0">
                  <a:pos x="50" y="24"/>
                </a:cxn>
                <a:cxn ang="0">
                  <a:pos x="64" y="30"/>
                </a:cxn>
                <a:cxn ang="0">
                  <a:pos x="73" y="7"/>
                </a:cxn>
                <a:cxn ang="0">
                  <a:pos x="73" y="0"/>
                </a:cxn>
                <a:cxn ang="0">
                  <a:pos x="68" y="55"/>
                </a:cxn>
                <a:cxn ang="0">
                  <a:pos x="73" y="55"/>
                </a:cxn>
                <a:cxn ang="0">
                  <a:pos x="87" y="22"/>
                </a:cxn>
                <a:cxn ang="0">
                  <a:pos x="82" y="31"/>
                </a:cxn>
                <a:cxn ang="0">
                  <a:pos x="87" y="48"/>
                </a:cxn>
                <a:cxn ang="0">
                  <a:pos x="92" y="45"/>
                </a:cxn>
                <a:cxn ang="0">
                  <a:pos x="77" y="24"/>
                </a:cxn>
                <a:cxn ang="0">
                  <a:pos x="92" y="36"/>
                </a:cxn>
                <a:cxn ang="0">
                  <a:pos x="104" y="22"/>
                </a:cxn>
                <a:cxn ang="0">
                  <a:pos x="101" y="26"/>
                </a:cxn>
                <a:cxn ang="0">
                  <a:pos x="102" y="55"/>
                </a:cxn>
                <a:cxn ang="0">
                  <a:pos x="101" y="43"/>
                </a:cxn>
                <a:cxn ang="0">
                  <a:pos x="105" y="48"/>
                </a:cxn>
                <a:cxn ang="0">
                  <a:pos x="96" y="25"/>
                </a:cxn>
                <a:cxn ang="0">
                  <a:pos x="109" y="28"/>
                </a:cxn>
              </a:cxnLst>
              <a:rect l="0" t="0" r="r" b="b"/>
              <a:pathLst>
                <a:path w="110" h="65">
                  <a:moveTo>
                    <a:pt x="5" y="46"/>
                  </a:moveTo>
                  <a:cubicBezTo>
                    <a:pt x="5" y="49"/>
                    <a:pt x="5" y="49"/>
                    <a:pt x="7" y="49"/>
                  </a:cubicBezTo>
                  <a:cubicBezTo>
                    <a:pt x="9" y="49"/>
                    <a:pt x="9" y="49"/>
                    <a:pt x="9" y="47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lnTo>
                    <a:pt x="5" y="46"/>
                  </a:lnTo>
                  <a:close/>
                  <a:moveTo>
                    <a:pt x="7" y="60"/>
                  </a:moveTo>
                  <a:cubicBezTo>
                    <a:pt x="9" y="60"/>
                    <a:pt x="9" y="59"/>
                    <a:pt x="9" y="58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4"/>
                    <a:pt x="7" y="54"/>
                    <a:pt x="5" y="54"/>
                  </a:cubicBezTo>
                  <a:cubicBezTo>
                    <a:pt x="1" y="54"/>
                    <a:pt x="0" y="51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1" y="14"/>
                    <a:pt x="5" y="14"/>
                  </a:cubicBezTo>
                  <a:cubicBezTo>
                    <a:pt x="6" y="14"/>
                    <a:pt x="8" y="15"/>
                    <a:pt x="9" y="16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2"/>
                    <a:pt x="11" y="65"/>
                    <a:pt x="7" y="65"/>
                  </a:cubicBezTo>
                  <a:cubicBezTo>
                    <a:pt x="2" y="65"/>
                    <a:pt x="0" y="63"/>
                    <a:pt x="0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5" y="60"/>
                    <a:pt x="7" y="60"/>
                  </a:cubicBezTo>
                  <a:close/>
                  <a:moveTo>
                    <a:pt x="23" y="16"/>
                  </a:moveTo>
                  <a:cubicBezTo>
                    <a:pt x="24" y="14"/>
                    <a:pt x="25" y="14"/>
                    <a:pt x="28" y="14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7" y="19"/>
                    <a:pt x="27" y="19"/>
                    <a:pt x="26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16"/>
                  </a:lnTo>
                  <a:close/>
                  <a:moveTo>
                    <a:pt x="40" y="37"/>
                  </a:moveTo>
                  <a:cubicBezTo>
                    <a:pt x="40" y="37"/>
                    <a:pt x="39" y="37"/>
                    <a:pt x="38" y="38"/>
                  </a:cubicBezTo>
                  <a:cubicBezTo>
                    <a:pt x="38" y="38"/>
                    <a:pt x="37" y="39"/>
                    <a:pt x="37" y="39"/>
                  </a:cubicBezTo>
                  <a:cubicBezTo>
                    <a:pt x="36" y="40"/>
                    <a:pt x="36" y="41"/>
                    <a:pt x="36" y="43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9"/>
                    <a:pt x="36" y="50"/>
                    <a:pt x="38" y="50"/>
                  </a:cubicBezTo>
                  <a:cubicBezTo>
                    <a:pt x="40" y="50"/>
                    <a:pt x="40" y="49"/>
                    <a:pt x="40" y="48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1" y="42"/>
                  </a:moveTo>
                  <a:cubicBezTo>
                    <a:pt x="31" y="39"/>
                    <a:pt x="32" y="37"/>
                    <a:pt x="34" y="35"/>
                  </a:cubicBezTo>
                  <a:cubicBezTo>
                    <a:pt x="36" y="34"/>
                    <a:pt x="37" y="34"/>
                    <a:pt x="38" y="32"/>
                  </a:cubicBezTo>
                  <a:cubicBezTo>
                    <a:pt x="39" y="32"/>
                    <a:pt x="40" y="31"/>
                    <a:pt x="40" y="31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0"/>
                    <a:pt x="40" y="19"/>
                    <a:pt x="38" y="19"/>
                  </a:cubicBezTo>
                  <a:cubicBezTo>
                    <a:pt x="37" y="19"/>
                    <a:pt x="36" y="20"/>
                    <a:pt x="36" y="22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7"/>
                    <a:pt x="33" y="14"/>
                    <a:pt x="38" y="14"/>
                  </a:cubicBezTo>
                  <a:cubicBezTo>
                    <a:pt x="43" y="14"/>
                    <a:pt x="45" y="17"/>
                    <a:pt x="45" y="24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5"/>
                    <a:pt x="38" y="55"/>
                    <a:pt x="36" y="55"/>
                  </a:cubicBezTo>
                  <a:cubicBezTo>
                    <a:pt x="32" y="55"/>
                    <a:pt x="31" y="52"/>
                    <a:pt x="31" y="45"/>
                  </a:cubicBezTo>
                  <a:cubicBezTo>
                    <a:pt x="31" y="42"/>
                    <a:pt x="31" y="42"/>
                    <a:pt x="31" y="42"/>
                  </a:cubicBezTo>
                  <a:close/>
                  <a:moveTo>
                    <a:pt x="37" y="8"/>
                  </a:moveTo>
                  <a:cubicBezTo>
                    <a:pt x="40" y="12"/>
                    <a:pt x="40" y="12"/>
                    <a:pt x="40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1" y="8"/>
                    <a:pt x="31" y="8"/>
                    <a:pt x="31" y="8"/>
                  </a:cubicBezTo>
                  <a:lnTo>
                    <a:pt x="37" y="8"/>
                  </a:lnTo>
                  <a:close/>
                  <a:moveTo>
                    <a:pt x="59" y="22"/>
                  </a:moveTo>
                  <a:cubicBezTo>
                    <a:pt x="59" y="20"/>
                    <a:pt x="58" y="19"/>
                    <a:pt x="56" y="19"/>
                  </a:cubicBezTo>
                  <a:cubicBezTo>
                    <a:pt x="55" y="19"/>
                    <a:pt x="54" y="20"/>
                    <a:pt x="54" y="22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4" y="49"/>
                    <a:pt x="55" y="50"/>
                    <a:pt x="56" y="50"/>
                  </a:cubicBezTo>
                  <a:cubicBezTo>
                    <a:pt x="58" y="50"/>
                    <a:pt x="59" y="49"/>
                    <a:pt x="59" y="48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52"/>
                    <a:pt x="61" y="55"/>
                    <a:pt x="56" y="55"/>
                  </a:cubicBezTo>
                  <a:cubicBezTo>
                    <a:pt x="52" y="55"/>
                    <a:pt x="50" y="52"/>
                    <a:pt x="50" y="45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17"/>
                    <a:pt x="52" y="14"/>
                    <a:pt x="56" y="14"/>
                  </a:cubicBezTo>
                  <a:cubicBezTo>
                    <a:pt x="61" y="14"/>
                    <a:pt x="64" y="17"/>
                    <a:pt x="64" y="24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9" y="30"/>
                    <a:pt x="59" y="30"/>
                    <a:pt x="59" y="30"/>
                  </a:cubicBezTo>
                  <a:lnTo>
                    <a:pt x="59" y="22"/>
                  </a:lnTo>
                  <a:close/>
                  <a:moveTo>
                    <a:pt x="73" y="7"/>
                  </a:moveTo>
                  <a:cubicBezTo>
                    <a:pt x="68" y="7"/>
                    <a:pt x="68" y="7"/>
                    <a:pt x="68" y="7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7"/>
                  </a:lnTo>
                  <a:close/>
                  <a:moveTo>
                    <a:pt x="73" y="55"/>
                  </a:moveTo>
                  <a:cubicBezTo>
                    <a:pt x="68" y="55"/>
                    <a:pt x="68" y="55"/>
                    <a:pt x="68" y="5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4"/>
                    <a:pt x="73" y="14"/>
                    <a:pt x="73" y="14"/>
                  </a:cubicBezTo>
                  <a:lnTo>
                    <a:pt x="73" y="55"/>
                  </a:lnTo>
                  <a:close/>
                  <a:moveTo>
                    <a:pt x="82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7" y="20"/>
                    <a:pt x="86" y="19"/>
                    <a:pt x="84" y="19"/>
                  </a:cubicBezTo>
                  <a:cubicBezTo>
                    <a:pt x="83" y="19"/>
                    <a:pt x="82" y="20"/>
                    <a:pt x="82" y="22"/>
                  </a:cubicBezTo>
                  <a:cubicBezTo>
                    <a:pt x="82" y="31"/>
                    <a:pt x="82" y="31"/>
                    <a:pt x="82" y="31"/>
                  </a:cubicBezTo>
                  <a:close/>
                  <a:moveTo>
                    <a:pt x="82" y="48"/>
                  </a:moveTo>
                  <a:cubicBezTo>
                    <a:pt x="82" y="49"/>
                    <a:pt x="83" y="50"/>
                    <a:pt x="84" y="50"/>
                  </a:cubicBezTo>
                  <a:cubicBezTo>
                    <a:pt x="86" y="50"/>
                    <a:pt x="87" y="49"/>
                    <a:pt x="87" y="48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52"/>
                    <a:pt x="90" y="55"/>
                    <a:pt x="84" y="55"/>
                  </a:cubicBezTo>
                  <a:cubicBezTo>
                    <a:pt x="80" y="55"/>
                    <a:pt x="77" y="52"/>
                    <a:pt x="77" y="45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17"/>
                    <a:pt x="80" y="14"/>
                    <a:pt x="84" y="14"/>
                  </a:cubicBezTo>
                  <a:cubicBezTo>
                    <a:pt x="90" y="14"/>
                    <a:pt x="92" y="17"/>
                    <a:pt x="92" y="24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48"/>
                    <a:pt x="82" y="48"/>
                    <a:pt x="82" y="48"/>
                  </a:cubicBezTo>
                  <a:close/>
                  <a:moveTo>
                    <a:pt x="104" y="22"/>
                  </a:moveTo>
                  <a:cubicBezTo>
                    <a:pt x="104" y="20"/>
                    <a:pt x="104" y="19"/>
                    <a:pt x="102" y="19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1" y="26"/>
                    <a:pt x="101" y="26"/>
                    <a:pt x="101" y="26"/>
                  </a:cubicBezTo>
                  <a:cubicBezTo>
                    <a:pt x="101" y="28"/>
                    <a:pt x="102" y="31"/>
                    <a:pt x="105" y="34"/>
                  </a:cubicBezTo>
                  <a:cubicBezTo>
                    <a:pt x="108" y="38"/>
                    <a:pt x="110" y="41"/>
                    <a:pt x="110" y="45"/>
                  </a:cubicBezTo>
                  <a:cubicBezTo>
                    <a:pt x="110" y="52"/>
                    <a:pt x="107" y="55"/>
                    <a:pt x="102" y="55"/>
                  </a:cubicBezTo>
                  <a:cubicBezTo>
                    <a:pt x="98" y="55"/>
                    <a:pt x="96" y="52"/>
                    <a:pt x="96" y="45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1" y="50"/>
                    <a:pt x="101" y="51"/>
                    <a:pt x="102" y="51"/>
                  </a:cubicBezTo>
                  <a:cubicBezTo>
                    <a:pt x="104" y="51"/>
                    <a:pt x="105" y="50"/>
                    <a:pt x="105" y="48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2"/>
                    <a:pt x="103" y="39"/>
                    <a:pt x="100" y="36"/>
                  </a:cubicBezTo>
                  <a:cubicBezTo>
                    <a:pt x="97" y="32"/>
                    <a:pt x="96" y="29"/>
                    <a:pt x="96" y="25"/>
                  </a:cubicBezTo>
                  <a:cubicBezTo>
                    <a:pt x="96" y="18"/>
                    <a:pt x="98" y="14"/>
                    <a:pt x="102" y="14"/>
                  </a:cubicBezTo>
                  <a:cubicBezTo>
                    <a:pt x="107" y="14"/>
                    <a:pt x="109" y="18"/>
                    <a:pt x="109" y="25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22"/>
                    <a:pt x="104" y="22"/>
                    <a:pt x="104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/>
          </p:nvSpPr>
          <p:spPr bwMode="auto">
            <a:xfrm>
              <a:off x="4689477" y="3600858"/>
              <a:ext cx="358775" cy="1190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9" y="14"/>
                </a:cxn>
                <a:cxn ang="0">
                  <a:pos x="7" y="48"/>
                </a:cxn>
                <a:cxn ang="0">
                  <a:pos x="2" y="46"/>
                </a:cxn>
                <a:cxn ang="0">
                  <a:pos x="1" y="14"/>
                </a:cxn>
                <a:cxn ang="0">
                  <a:pos x="21" y="38"/>
                </a:cxn>
                <a:cxn ang="0">
                  <a:pos x="18" y="48"/>
                </a:cxn>
                <a:cxn ang="0">
                  <a:pos x="23" y="37"/>
                </a:cxn>
                <a:cxn ang="0">
                  <a:pos x="20" y="33"/>
                </a:cxn>
                <a:cxn ang="0">
                  <a:pos x="21" y="19"/>
                </a:cxn>
                <a:cxn ang="0">
                  <a:pos x="13" y="30"/>
                </a:cxn>
                <a:cxn ang="0">
                  <a:pos x="27" y="24"/>
                </a:cxn>
                <a:cxn ang="0">
                  <a:pos x="23" y="54"/>
                </a:cxn>
                <a:cxn ang="0">
                  <a:pos x="13" y="43"/>
                </a:cxn>
                <a:cxn ang="0">
                  <a:pos x="37" y="22"/>
                </a:cxn>
                <a:cxn ang="0">
                  <a:pos x="32" y="14"/>
                </a:cxn>
                <a:cxn ang="0">
                  <a:pos x="41" y="14"/>
                </a:cxn>
                <a:cxn ang="0">
                  <a:pos x="42" y="56"/>
                </a:cxn>
                <a:cxn ang="0">
                  <a:pos x="61" y="31"/>
                </a:cxn>
                <a:cxn ang="0">
                  <a:pos x="56" y="22"/>
                </a:cxn>
                <a:cxn ang="0">
                  <a:pos x="58" y="51"/>
                </a:cxn>
                <a:cxn ang="0">
                  <a:pos x="66" y="40"/>
                </a:cxn>
                <a:cxn ang="0">
                  <a:pos x="51" y="46"/>
                </a:cxn>
                <a:cxn ang="0">
                  <a:pos x="66" y="24"/>
                </a:cxn>
                <a:cxn ang="0">
                  <a:pos x="56" y="48"/>
                </a:cxn>
                <a:cxn ang="0">
                  <a:pos x="84" y="22"/>
                </a:cxn>
                <a:cxn ang="0">
                  <a:pos x="80" y="22"/>
                </a:cxn>
                <a:cxn ang="0">
                  <a:pos x="75" y="56"/>
                </a:cxn>
                <a:cxn ang="0">
                  <a:pos x="75" y="14"/>
                </a:cxn>
                <a:cxn ang="0">
                  <a:pos x="83" y="17"/>
                </a:cxn>
                <a:cxn ang="0">
                  <a:pos x="94" y="56"/>
                </a:cxn>
                <a:cxn ang="0">
                  <a:pos x="103" y="8"/>
                </a:cxn>
                <a:cxn ang="0">
                  <a:pos x="103" y="0"/>
                </a:cxn>
                <a:cxn ang="0">
                  <a:pos x="98" y="56"/>
                </a:cxn>
                <a:cxn ang="0">
                  <a:pos x="103" y="56"/>
                </a:cxn>
                <a:cxn ang="0">
                  <a:pos x="117" y="20"/>
                </a:cxn>
                <a:cxn ang="0">
                  <a:pos x="112" y="56"/>
                </a:cxn>
                <a:cxn ang="0">
                  <a:pos x="112" y="14"/>
                </a:cxn>
                <a:cxn ang="0">
                  <a:pos x="120" y="14"/>
                </a:cxn>
                <a:cxn ang="0">
                  <a:pos x="125" y="14"/>
                </a:cxn>
                <a:cxn ang="0">
                  <a:pos x="125" y="19"/>
                </a:cxn>
                <a:cxn ang="0">
                  <a:pos x="127" y="56"/>
                </a:cxn>
                <a:cxn ang="0">
                  <a:pos x="118" y="19"/>
                </a:cxn>
              </a:cxnLst>
              <a:rect l="0" t="0" r="r" b="b"/>
              <a:pathLst>
                <a:path w="127" h="56">
                  <a:moveTo>
                    <a:pt x="0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50"/>
                    <a:pt x="8" y="51"/>
                    <a:pt x="9" y="51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5" y="56"/>
                    <a:pt x="2" y="52"/>
                    <a:pt x="2" y="46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4"/>
                    <a:pt x="1" y="14"/>
                    <a:pt x="1" y="14"/>
                  </a:cubicBezTo>
                  <a:lnTo>
                    <a:pt x="0" y="14"/>
                  </a:lnTo>
                  <a:close/>
                  <a:moveTo>
                    <a:pt x="23" y="37"/>
                  </a:moveTo>
                  <a:cubicBezTo>
                    <a:pt x="22" y="37"/>
                    <a:pt x="21" y="38"/>
                    <a:pt x="21" y="38"/>
                  </a:cubicBezTo>
                  <a:cubicBezTo>
                    <a:pt x="21" y="38"/>
                    <a:pt x="20" y="39"/>
                    <a:pt x="20" y="40"/>
                  </a:cubicBezTo>
                  <a:cubicBezTo>
                    <a:pt x="18" y="40"/>
                    <a:pt x="18" y="42"/>
                    <a:pt x="18" y="43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50"/>
                    <a:pt x="18" y="51"/>
                    <a:pt x="20" y="51"/>
                  </a:cubicBezTo>
                  <a:cubicBezTo>
                    <a:pt x="22" y="51"/>
                    <a:pt x="23" y="50"/>
                    <a:pt x="23" y="48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13" y="43"/>
                  </a:moveTo>
                  <a:cubicBezTo>
                    <a:pt x="13" y="40"/>
                    <a:pt x="15" y="37"/>
                    <a:pt x="17" y="36"/>
                  </a:cubicBezTo>
                  <a:cubicBezTo>
                    <a:pt x="18" y="35"/>
                    <a:pt x="19" y="34"/>
                    <a:pt x="20" y="33"/>
                  </a:cubicBezTo>
                  <a:cubicBezTo>
                    <a:pt x="21" y="32"/>
                    <a:pt x="22" y="32"/>
                    <a:pt x="23" y="31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0"/>
                    <a:pt x="22" y="19"/>
                    <a:pt x="21" y="19"/>
                  </a:cubicBezTo>
                  <a:cubicBezTo>
                    <a:pt x="19" y="19"/>
                    <a:pt x="18" y="20"/>
                    <a:pt x="18" y="22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6" y="14"/>
                    <a:pt x="21" y="14"/>
                  </a:cubicBezTo>
                  <a:cubicBezTo>
                    <a:pt x="25" y="14"/>
                    <a:pt x="27" y="18"/>
                    <a:pt x="27" y="24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5"/>
                    <a:pt x="21" y="56"/>
                    <a:pt x="19" y="56"/>
                  </a:cubicBezTo>
                  <a:cubicBezTo>
                    <a:pt x="15" y="56"/>
                    <a:pt x="13" y="52"/>
                    <a:pt x="13" y="46"/>
                  </a:cubicBezTo>
                  <a:cubicBezTo>
                    <a:pt x="13" y="43"/>
                    <a:pt x="13" y="43"/>
                    <a:pt x="13" y="43"/>
                  </a:cubicBezTo>
                  <a:close/>
                  <a:moveTo>
                    <a:pt x="42" y="22"/>
                  </a:moveTo>
                  <a:cubicBezTo>
                    <a:pt x="42" y="20"/>
                    <a:pt x="41" y="19"/>
                    <a:pt x="39" y="19"/>
                  </a:cubicBezTo>
                  <a:cubicBezTo>
                    <a:pt x="38" y="19"/>
                    <a:pt x="37" y="20"/>
                    <a:pt x="37" y="22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5"/>
                    <a:pt x="39" y="14"/>
                    <a:pt x="41" y="14"/>
                  </a:cubicBezTo>
                  <a:cubicBezTo>
                    <a:pt x="45" y="14"/>
                    <a:pt x="47" y="18"/>
                    <a:pt x="47" y="24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22"/>
                    <a:pt x="42" y="22"/>
                    <a:pt x="42" y="22"/>
                  </a:cubicBezTo>
                  <a:close/>
                  <a:moveTo>
                    <a:pt x="56" y="31"/>
                  </a:moveTo>
                  <a:cubicBezTo>
                    <a:pt x="61" y="31"/>
                    <a:pt x="61" y="31"/>
                    <a:pt x="61" y="3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0"/>
                    <a:pt x="59" y="19"/>
                    <a:pt x="58" y="19"/>
                  </a:cubicBezTo>
                  <a:cubicBezTo>
                    <a:pt x="57" y="19"/>
                    <a:pt x="56" y="20"/>
                    <a:pt x="56" y="22"/>
                  </a:cubicBezTo>
                  <a:lnTo>
                    <a:pt x="56" y="31"/>
                  </a:lnTo>
                  <a:close/>
                  <a:moveTo>
                    <a:pt x="56" y="48"/>
                  </a:moveTo>
                  <a:cubicBezTo>
                    <a:pt x="56" y="50"/>
                    <a:pt x="57" y="51"/>
                    <a:pt x="58" y="51"/>
                  </a:cubicBezTo>
                  <a:cubicBezTo>
                    <a:pt x="60" y="51"/>
                    <a:pt x="61" y="50"/>
                    <a:pt x="61" y="48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52"/>
                    <a:pt x="63" y="56"/>
                    <a:pt x="58" y="56"/>
                  </a:cubicBezTo>
                  <a:cubicBezTo>
                    <a:pt x="53" y="56"/>
                    <a:pt x="51" y="52"/>
                    <a:pt x="51" y="4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18"/>
                    <a:pt x="53" y="14"/>
                    <a:pt x="58" y="14"/>
                  </a:cubicBezTo>
                  <a:cubicBezTo>
                    <a:pt x="63" y="14"/>
                    <a:pt x="66" y="18"/>
                    <a:pt x="66" y="24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48"/>
                    <a:pt x="56" y="48"/>
                    <a:pt x="56" y="48"/>
                  </a:cubicBezTo>
                  <a:close/>
                  <a:moveTo>
                    <a:pt x="89" y="22"/>
                  </a:moveTo>
                  <a:cubicBezTo>
                    <a:pt x="89" y="20"/>
                    <a:pt x="88" y="19"/>
                    <a:pt x="86" y="19"/>
                  </a:cubicBezTo>
                  <a:cubicBezTo>
                    <a:pt x="85" y="19"/>
                    <a:pt x="84" y="20"/>
                    <a:pt x="84" y="22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80" y="20"/>
                    <a:pt x="79" y="19"/>
                    <a:pt x="77" y="19"/>
                  </a:cubicBezTo>
                  <a:cubicBezTo>
                    <a:pt x="75" y="19"/>
                    <a:pt x="75" y="20"/>
                    <a:pt x="75" y="22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5" y="15"/>
                    <a:pt x="76" y="14"/>
                    <a:pt x="79" y="14"/>
                  </a:cubicBezTo>
                  <a:cubicBezTo>
                    <a:pt x="80" y="14"/>
                    <a:pt x="82" y="15"/>
                    <a:pt x="83" y="17"/>
                  </a:cubicBezTo>
                  <a:cubicBezTo>
                    <a:pt x="84" y="15"/>
                    <a:pt x="86" y="14"/>
                    <a:pt x="88" y="14"/>
                  </a:cubicBezTo>
                  <a:cubicBezTo>
                    <a:pt x="92" y="14"/>
                    <a:pt x="94" y="18"/>
                    <a:pt x="94" y="24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22"/>
                    <a:pt x="89" y="22"/>
                    <a:pt x="89" y="22"/>
                  </a:cubicBezTo>
                  <a:close/>
                  <a:moveTo>
                    <a:pt x="103" y="8"/>
                  </a:moveTo>
                  <a:cubicBezTo>
                    <a:pt x="98" y="8"/>
                    <a:pt x="98" y="8"/>
                    <a:pt x="98" y="8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3" y="0"/>
                    <a:pt x="103" y="0"/>
                    <a:pt x="103" y="0"/>
                  </a:cubicBezTo>
                  <a:lnTo>
                    <a:pt x="103" y="8"/>
                  </a:lnTo>
                  <a:close/>
                  <a:moveTo>
                    <a:pt x="103" y="56"/>
                  </a:moveTo>
                  <a:cubicBezTo>
                    <a:pt x="98" y="56"/>
                    <a:pt x="98" y="56"/>
                    <a:pt x="98" y="56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103" y="14"/>
                    <a:pt x="103" y="14"/>
                    <a:pt x="103" y="14"/>
                  </a:cubicBezTo>
                  <a:lnTo>
                    <a:pt x="103" y="56"/>
                  </a:lnTo>
                  <a:close/>
                  <a:moveTo>
                    <a:pt x="112" y="16"/>
                  </a:moveTo>
                  <a:cubicBezTo>
                    <a:pt x="113" y="15"/>
                    <a:pt x="115" y="14"/>
                    <a:pt x="117" y="14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6" y="20"/>
                    <a:pt x="116" y="19"/>
                    <a:pt x="115" y="19"/>
                  </a:cubicBezTo>
                  <a:cubicBezTo>
                    <a:pt x="113" y="19"/>
                    <a:pt x="112" y="20"/>
                    <a:pt x="112" y="22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12" y="14"/>
                    <a:pt x="112" y="14"/>
                    <a:pt x="112" y="14"/>
                  </a:cubicBezTo>
                  <a:lnTo>
                    <a:pt x="112" y="16"/>
                  </a:lnTo>
                  <a:close/>
                  <a:moveTo>
                    <a:pt x="118" y="14"/>
                  </a:moveTo>
                  <a:cubicBezTo>
                    <a:pt x="120" y="14"/>
                    <a:pt x="120" y="14"/>
                    <a:pt x="120" y="14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25" y="19"/>
                    <a:pt x="125" y="19"/>
                    <a:pt x="125" y="19"/>
                  </a:cubicBezTo>
                  <a:cubicBezTo>
                    <a:pt x="125" y="48"/>
                    <a:pt x="125" y="48"/>
                    <a:pt x="125" y="48"/>
                  </a:cubicBezTo>
                  <a:cubicBezTo>
                    <a:pt x="125" y="50"/>
                    <a:pt x="125" y="51"/>
                    <a:pt x="127" y="51"/>
                  </a:cubicBezTo>
                  <a:cubicBezTo>
                    <a:pt x="127" y="56"/>
                    <a:pt x="127" y="56"/>
                    <a:pt x="127" y="56"/>
                  </a:cubicBezTo>
                  <a:cubicBezTo>
                    <a:pt x="122" y="56"/>
                    <a:pt x="120" y="52"/>
                    <a:pt x="120" y="46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18" y="19"/>
                    <a:pt x="118" y="19"/>
                    <a:pt x="118" y="19"/>
                  </a:cubicBezTo>
                  <a:cubicBezTo>
                    <a:pt x="118" y="14"/>
                    <a:pt x="118" y="14"/>
                    <a:pt x="118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/>
          </p:nvSpPr>
          <p:spPr bwMode="auto">
            <a:xfrm>
              <a:off x="6078538" y="2125674"/>
              <a:ext cx="300038" cy="138113"/>
            </a:xfrm>
            <a:custGeom>
              <a:avLst/>
              <a:gdLst/>
              <a:ahLst/>
              <a:cxnLst>
                <a:cxn ang="0">
                  <a:pos x="4" y="14"/>
                </a:cxn>
                <a:cxn ang="0">
                  <a:pos x="9" y="14"/>
                </a:cxn>
                <a:cxn ang="0">
                  <a:pos x="15" y="45"/>
                </a:cxn>
                <a:cxn ang="0">
                  <a:pos x="4" y="54"/>
                </a:cxn>
                <a:cxn ang="0">
                  <a:pos x="0" y="65"/>
                </a:cxn>
                <a:cxn ang="0">
                  <a:pos x="9" y="47"/>
                </a:cxn>
                <a:cxn ang="0">
                  <a:pos x="7" y="19"/>
                </a:cxn>
                <a:cxn ang="0">
                  <a:pos x="4" y="47"/>
                </a:cxn>
                <a:cxn ang="0">
                  <a:pos x="9" y="47"/>
                </a:cxn>
                <a:cxn ang="0">
                  <a:pos x="26" y="38"/>
                </a:cxn>
                <a:cxn ang="0">
                  <a:pos x="24" y="43"/>
                </a:cxn>
                <a:cxn ang="0">
                  <a:pos x="26" y="50"/>
                </a:cxn>
                <a:cxn ang="0">
                  <a:pos x="28" y="37"/>
                </a:cxn>
                <a:cxn ang="0">
                  <a:pos x="22" y="35"/>
                </a:cxn>
                <a:cxn ang="0">
                  <a:pos x="28" y="31"/>
                </a:cxn>
                <a:cxn ang="0">
                  <a:pos x="26" y="19"/>
                </a:cxn>
                <a:cxn ang="0">
                  <a:pos x="24" y="29"/>
                </a:cxn>
                <a:cxn ang="0">
                  <a:pos x="19" y="24"/>
                </a:cxn>
                <a:cxn ang="0">
                  <a:pos x="33" y="24"/>
                </a:cxn>
                <a:cxn ang="0">
                  <a:pos x="28" y="55"/>
                </a:cxn>
                <a:cxn ang="0">
                  <a:pos x="25" y="55"/>
                </a:cxn>
                <a:cxn ang="0">
                  <a:pos x="18" y="42"/>
                </a:cxn>
                <a:cxn ang="0">
                  <a:pos x="41" y="0"/>
                </a:cxn>
                <a:cxn ang="0">
                  <a:pos x="37" y="55"/>
                </a:cxn>
                <a:cxn ang="0">
                  <a:pos x="50" y="47"/>
                </a:cxn>
                <a:cxn ang="0">
                  <a:pos x="55" y="47"/>
                </a:cxn>
                <a:cxn ang="0">
                  <a:pos x="53" y="19"/>
                </a:cxn>
                <a:cxn ang="0">
                  <a:pos x="50" y="47"/>
                </a:cxn>
                <a:cxn ang="0">
                  <a:pos x="55" y="55"/>
                </a:cxn>
                <a:cxn ang="0">
                  <a:pos x="51" y="55"/>
                </a:cxn>
                <a:cxn ang="0">
                  <a:pos x="45" y="24"/>
                </a:cxn>
                <a:cxn ang="0">
                  <a:pos x="55" y="15"/>
                </a:cxn>
                <a:cxn ang="0">
                  <a:pos x="60" y="0"/>
                </a:cxn>
                <a:cxn ang="0">
                  <a:pos x="69" y="7"/>
                </a:cxn>
                <a:cxn ang="0">
                  <a:pos x="65" y="0"/>
                </a:cxn>
                <a:cxn ang="0">
                  <a:pos x="69" y="7"/>
                </a:cxn>
                <a:cxn ang="0">
                  <a:pos x="65" y="55"/>
                </a:cxn>
                <a:cxn ang="0">
                  <a:pos x="69" y="14"/>
                </a:cxn>
                <a:cxn ang="0">
                  <a:pos x="79" y="31"/>
                </a:cxn>
                <a:cxn ang="0">
                  <a:pos x="84" y="22"/>
                </a:cxn>
                <a:cxn ang="0">
                  <a:pos x="79" y="22"/>
                </a:cxn>
                <a:cxn ang="0">
                  <a:pos x="79" y="47"/>
                </a:cxn>
                <a:cxn ang="0">
                  <a:pos x="84" y="47"/>
                </a:cxn>
                <a:cxn ang="0">
                  <a:pos x="88" y="39"/>
                </a:cxn>
                <a:cxn ang="0">
                  <a:pos x="81" y="55"/>
                </a:cxn>
                <a:cxn ang="0">
                  <a:pos x="74" y="24"/>
                </a:cxn>
                <a:cxn ang="0">
                  <a:pos x="88" y="24"/>
                </a:cxn>
                <a:cxn ang="0">
                  <a:pos x="79" y="36"/>
                </a:cxn>
                <a:cxn ang="0">
                  <a:pos x="101" y="22"/>
                </a:cxn>
                <a:cxn ang="0">
                  <a:pos x="97" y="22"/>
                </a:cxn>
                <a:cxn ang="0">
                  <a:pos x="101" y="34"/>
                </a:cxn>
                <a:cxn ang="0">
                  <a:pos x="99" y="55"/>
                </a:cxn>
                <a:cxn ang="0">
                  <a:pos x="92" y="43"/>
                </a:cxn>
                <a:cxn ang="0">
                  <a:pos x="97" y="47"/>
                </a:cxn>
                <a:cxn ang="0">
                  <a:pos x="101" y="47"/>
                </a:cxn>
                <a:cxn ang="0">
                  <a:pos x="97" y="36"/>
                </a:cxn>
                <a:cxn ang="0">
                  <a:pos x="99" y="14"/>
                </a:cxn>
                <a:cxn ang="0">
                  <a:pos x="106" y="28"/>
                </a:cxn>
                <a:cxn ang="0">
                  <a:pos x="101" y="22"/>
                </a:cxn>
              </a:cxnLst>
              <a:rect l="0" t="0" r="r" b="b"/>
              <a:pathLst>
                <a:path w="106" h="65">
                  <a:moveTo>
                    <a:pt x="0" y="14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6" y="15"/>
                    <a:pt x="7" y="14"/>
                    <a:pt x="9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2" y="55"/>
                    <a:pt x="9" y="55"/>
                  </a:cubicBezTo>
                  <a:cubicBezTo>
                    <a:pt x="7" y="55"/>
                    <a:pt x="5" y="55"/>
                    <a:pt x="4" y="5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0" y="65"/>
                    <a:pt x="0" y="65"/>
                    <a:pt x="0" y="65"/>
                  </a:cubicBezTo>
                  <a:lnTo>
                    <a:pt x="0" y="14"/>
                  </a:lnTo>
                  <a:close/>
                  <a:moveTo>
                    <a:pt x="9" y="47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6" y="19"/>
                    <a:pt x="4" y="20"/>
                    <a:pt x="4" y="22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9"/>
                    <a:pt x="6" y="50"/>
                    <a:pt x="7" y="50"/>
                  </a:cubicBezTo>
                  <a:cubicBezTo>
                    <a:pt x="9" y="50"/>
                    <a:pt x="9" y="49"/>
                    <a:pt x="9" y="47"/>
                  </a:cubicBezTo>
                  <a:close/>
                  <a:moveTo>
                    <a:pt x="28" y="37"/>
                  </a:moveTo>
                  <a:cubicBezTo>
                    <a:pt x="27" y="37"/>
                    <a:pt x="27" y="37"/>
                    <a:pt x="26" y="38"/>
                  </a:cubicBezTo>
                  <a:cubicBezTo>
                    <a:pt x="26" y="38"/>
                    <a:pt x="25" y="38"/>
                    <a:pt x="25" y="39"/>
                  </a:cubicBezTo>
                  <a:cubicBezTo>
                    <a:pt x="24" y="39"/>
                    <a:pt x="24" y="41"/>
                    <a:pt x="24" y="43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4" y="49"/>
                    <a:pt x="24" y="50"/>
                    <a:pt x="26" y="50"/>
                  </a:cubicBezTo>
                  <a:cubicBezTo>
                    <a:pt x="27" y="50"/>
                    <a:pt x="28" y="49"/>
                    <a:pt x="28" y="47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18" y="42"/>
                  </a:moveTo>
                  <a:cubicBezTo>
                    <a:pt x="18" y="39"/>
                    <a:pt x="20" y="37"/>
                    <a:pt x="22" y="35"/>
                  </a:cubicBezTo>
                  <a:cubicBezTo>
                    <a:pt x="24" y="34"/>
                    <a:pt x="25" y="33"/>
                    <a:pt x="26" y="32"/>
                  </a:cubicBezTo>
                  <a:cubicBezTo>
                    <a:pt x="27" y="32"/>
                    <a:pt x="27" y="31"/>
                    <a:pt x="28" y="3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0"/>
                    <a:pt x="27" y="19"/>
                    <a:pt x="26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17"/>
                    <a:pt x="21" y="14"/>
                    <a:pt x="26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5"/>
                    <a:pt x="26" y="55"/>
                    <a:pt x="25" y="55"/>
                  </a:cubicBezTo>
                  <a:cubicBezTo>
                    <a:pt x="21" y="55"/>
                    <a:pt x="18" y="52"/>
                    <a:pt x="18" y="45"/>
                  </a:cubicBezTo>
                  <a:lnTo>
                    <a:pt x="18" y="42"/>
                  </a:lnTo>
                  <a:close/>
                  <a:moveTo>
                    <a:pt x="37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37" y="55"/>
                    <a:pt x="37" y="55"/>
                    <a:pt x="37" y="55"/>
                  </a:cubicBezTo>
                  <a:lnTo>
                    <a:pt x="37" y="0"/>
                  </a:lnTo>
                  <a:close/>
                  <a:moveTo>
                    <a:pt x="50" y="47"/>
                  </a:moveTo>
                  <a:cubicBezTo>
                    <a:pt x="50" y="49"/>
                    <a:pt x="51" y="50"/>
                    <a:pt x="53" y="50"/>
                  </a:cubicBezTo>
                  <a:cubicBezTo>
                    <a:pt x="54" y="50"/>
                    <a:pt x="55" y="49"/>
                    <a:pt x="55" y="47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0"/>
                    <a:pt x="54" y="19"/>
                    <a:pt x="53" y="19"/>
                  </a:cubicBezTo>
                  <a:cubicBezTo>
                    <a:pt x="51" y="19"/>
                    <a:pt x="50" y="20"/>
                    <a:pt x="50" y="22"/>
                  </a:cubicBezTo>
                  <a:lnTo>
                    <a:pt x="50" y="47"/>
                  </a:lnTo>
                  <a:close/>
                  <a:moveTo>
                    <a:pt x="60" y="55"/>
                  </a:moveTo>
                  <a:cubicBezTo>
                    <a:pt x="55" y="55"/>
                    <a:pt x="55" y="55"/>
                    <a:pt x="55" y="55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54" y="55"/>
                    <a:pt x="53" y="55"/>
                    <a:pt x="51" y="55"/>
                  </a:cubicBezTo>
                  <a:cubicBezTo>
                    <a:pt x="48" y="55"/>
                    <a:pt x="45" y="52"/>
                    <a:pt x="45" y="45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17"/>
                    <a:pt x="48" y="14"/>
                    <a:pt x="51" y="14"/>
                  </a:cubicBezTo>
                  <a:cubicBezTo>
                    <a:pt x="53" y="14"/>
                    <a:pt x="54" y="14"/>
                    <a:pt x="55" y="15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60" y="55"/>
                  </a:lnTo>
                  <a:close/>
                  <a:moveTo>
                    <a:pt x="69" y="7"/>
                  </a:moveTo>
                  <a:cubicBezTo>
                    <a:pt x="65" y="7"/>
                    <a:pt x="65" y="7"/>
                    <a:pt x="65" y="7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69" y="7"/>
                  </a:lnTo>
                  <a:close/>
                  <a:moveTo>
                    <a:pt x="69" y="55"/>
                  </a:moveTo>
                  <a:cubicBezTo>
                    <a:pt x="65" y="55"/>
                    <a:pt x="65" y="55"/>
                    <a:pt x="65" y="55"/>
                  </a:cubicBezTo>
                  <a:cubicBezTo>
                    <a:pt x="65" y="14"/>
                    <a:pt x="65" y="14"/>
                    <a:pt x="65" y="14"/>
                  </a:cubicBezTo>
                  <a:cubicBezTo>
                    <a:pt x="69" y="14"/>
                    <a:pt x="69" y="14"/>
                    <a:pt x="69" y="14"/>
                  </a:cubicBezTo>
                  <a:lnTo>
                    <a:pt x="69" y="55"/>
                  </a:lnTo>
                  <a:close/>
                  <a:moveTo>
                    <a:pt x="79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0"/>
                    <a:pt x="83" y="19"/>
                    <a:pt x="81" y="19"/>
                  </a:cubicBezTo>
                  <a:cubicBezTo>
                    <a:pt x="79" y="19"/>
                    <a:pt x="79" y="20"/>
                    <a:pt x="79" y="22"/>
                  </a:cubicBezTo>
                  <a:cubicBezTo>
                    <a:pt x="79" y="31"/>
                    <a:pt x="79" y="31"/>
                    <a:pt x="79" y="31"/>
                  </a:cubicBezTo>
                  <a:close/>
                  <a:moveTo>
                    <a:pt x="79" y="47"/>
                  </a:moveTo>
                  <a:cubicBezTo>
                    <a:pt x="79" y="49"/>
                    <a:pt x="79" y="50"/>
                    <a:pt x="81" y="50"/>
                  </a:cubicBezTo>
                  <a:cubicBezTo>
                    <a:pt x="83" y="50"/>
                    <a:pt x="84" y="49"/>
                    <a:pt x="84" y="47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8" y="39"/>
                    <a:pt x="88" y="39"/>
                    <a:pt x="88" y="39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88" y="52"/>
                    <a:pt x="86" y="55"/>
                    <a:pt x="81" y="55"/>
                  </a:cubicBezTo>
                  <a:cubicBezTo>
                    <a:pt x="76" y="55"/>
                    <a:pt x="74" y="52"/>
                    <a:pt x="74" y="45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17"/>
                    <a:pt x="76" y="14"/>
                    <a:pt x="81" y="14"/>
                  </a:cubicBezTo>
                  <a:cubicBezTo>
                    <a:pt x="86" y="14"/>
                    <a:pt x="88" y="17"/>
                    <a:pt x="88" y="24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47"/>
                    <a:pt x="79" y="47"/>
                    <a:pt x="79" y="47"/>
                  </a:cubicBezTo>
                  <a:close/>
                  <a:moveTo>
                    <a:pt x="101" y="22"/>
                  </a:moveTo>
                  <a:cubicBezTo>
                    <a:pt x="101" y="20"/>
                    <a:pt x="100" y="19"/>
                    <a:pt x="99" y="19"/>
                  </a:cubicBezTo>
                  <a:cubicBezTo>
                    <a:pt x="98" y="19"/>
                    <a:pt x="97" y="20"/>
                    <a:pt x="97" y="22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8"/>
                    <a:pt x="98" y="31"/>
                    <a:pt x="101" y="34"/>
                  </a:cubicBezTo>
                  <a:cubicBezTo>
                    <a:pt x="104" y="38"/>
                    <a:pt x="106" y="41"/>
                    <a:pt x="106" y="45"/>
                  </a:cubicBezTo>
                  <a:cubicBezTo>
                    <a:pt x="106" y="52"/>
                    <a:pt x="103" y="55"/>
                    <a:pt x="99" y="55"/>
                  </a:cubicBezTo>
                  <a:cubicBezTo>
                    <a:pt x="94" y="55"/>
                    <a:pt x="92" y="52"/>
                    <a:pt x="92" y="45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50"/>
                    <a:pt x="98" y="51"/>
                    <a:pt x="99" y="51"/>
                  </a:cubicBezTo>
                  <a:cubicBezTo>
                    <a:pt x="100" y="51"/>
                    <a:pt x="101" y="50"/>
                    <a:pt x="101" y="47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1" y="42"/>
                    <a:pt x="99" y="39"/>
                    <a:pt x="97" y="36"/>
                  </a:cubicBezTo>
                  <a:cubicBezTo>
                    <a:pt x="94" y="32"/>
                    <a:pt x="92" y="29"/>
                    <a:pt x="92" y="24"/>
                  </a:cubicBezTo>
                  <a:cubicBezTo>
                    <a:pt x="92" y="18"/>
                    <a:pt x="94" y="14"/>
                    <a:pt x="99" y="14"/>
                  </a:cubicBezTo>
                  <a:cubicBezTo>
                    <a:pt x="103" y="14"/>
                    <a:pt x="106" y="18"/>
                    <a:pt x="106" y="24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1" y="22"/>
                    <a:pt x="101" y="22"/>
                    <a:pt x="10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 noEditPoints="1"/>
            </p:cNvSpPr>
            <p:nvPr/>
          </p:nvSpPr>
          <p:spPr bwMode="auto">
            <a:xfrm>
              <a:off x="5057776" y="3107940"/>
              <a:ext cx="274638" cy="140494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26"/>
                </a:cxn>
                <a:cxn ang="0">
                  <a:pos x="14" y="46"/>
                </a:cxn>
                <a:cxn ang="0">
                  <a:pos x="0" y="45"/>
                </a:cxn>
                <a:cxn ang="0">
                  <a:pos x="5" y="43"/>
                </a:cxn>
                <a:cxn ang="0">
                  <a:pos x="7" y="51"/>
                </a:cxn>
                <a:cxn ang="0">
                  <a:pos x="9" y="45"/>
                </a:cxn>
                <a:cxn ang="0">
                  <a:pos x="0" y="25"/>
                </a:cxn>
                <a:cxn ang="0">
                  <a:pos x="14" y="25"/>
                </a:cxn>
                <a:cxn ang="0">
                  <a:pos x="9" y="29"/>
                </a:cxn>
                <a:cxn ang="0">
                  <a:pos x="23" y="48"/>
                </a:cxn>
                <a:cxn ang="0">
                  <a:pos x="28" y="48"/>
                </a:cxn>
                <a:cxn ang="0">
                  <a:pos x="32" y="15"/>
                </a:cxn>
                <a:cxn ang="0">
                  <a:pos x="28" y="56"/>
                </a:cxn>
                <a:cxn ang="0">
                  <a:pos x="23" y="56"/>
                </a:cxn>
                <a:cxn ang="0">
                  <a:pos x="18" y="15"/>
                </a:cxn>
                <a:cxn ang="0">
                  <a:pos x="23" y="48"/>
                </a:cxn>
                <a:cxn ang="0">
                  <a:pos x="41" y="0"/>
                </a:cxn>
                <a:cxn ang="0">
                  <a:pos x="36" y="56"/>
                </a:cxn>
                <a:cxn ang="0">
                  <a:pos x="45" y="15"/>
                </a:cxn>
                <a:cxn ang="0">
                  <a:pos x="50" y="16"/>
                </a:cxn>
                <a:cxn ang="0">
                  <a:pos x="59" y="24"/>
                </a:cxn>
                <a:cxn ang="0">
                  <a:pos x="54" y="56"/>
                </a:cxn>
                <a:cxn ang="0">
                  <a:pos x="50" y="66"/>
                </a:cxn>
                <a:cxn ang="0">
                  <a:pos x="45" y="15"/>
                </a:cxn>
                <a:cxn ang="0">
                  <a:pos x="55" y="23"/>
                </a:cxn>
                <a:cxn ang="0">
                  <a:pos x="50" y="23"/>
                </a:cxn>
                <a:cxn ang="0">
                  <a:pos x="52" y="51"/>
                </a:cxn>
                <a:cxn ang="0">
                  <a:pos x="73" y="37"/>
                </a:cxn>
                <a:cxn ang="0">
                  <a:pos x="70" y="40"/>
                </a:cxn>
                <a:cxn ang="0">
                  <a:pos x="69" y="48"/>
                </a:cxn>
                <a:cxn ang="0">
                  <a:pos x="73" y="48"/>
                </a:cxn>
                <a:cxn ang="0">
                  <a:pos x="64" y="43"/>
                </a:cxn>
                <a:cxn ang="0">
                  <a:pos x="71" y="33"/>
                </a:cxn>
                <a:cxn ang="0">
                  <a:pos x="73" y="23"/>
                </a:cxn>
                <a:cxn ang="0">
                  <a:pos x="69" y="23"/>
                </a:cxn>
                <a:cxn ang="0">
                  <a:pos x="64" y="30"/>
                </a:cxn>
                <a:cxn ang="0">
                  <a:pos x="71" y="15"/>
                </a:cxn>
                <a:cxn ang="0">
                  <a:pos x="78" y="56"/>
                </a:cxn>
                <a:cxn ang="0">
                  <a:pos x="73" y="54"/>
                </a:cxn>
                <a:cxn ang="0">
                  <a:pos x="64" y="46"/>
                </a:cxn>
                <a:cxn ang="0">
                  <a:pos x="78" y="9"/>
                </a:cxn>
                <a:cxn ang="0">
                  <a:pos x="68" y="13"/>
                </a:cxn>
                <a:cxn ang="0">
                  <a:pos x="78" y="9"/>
                </a:cxn>
                <a:cxn ang="0">
                  <a:pos x="87" y="56"/>
                </a:cxn>
                <a:cxn ang="0">
                  <a:pos x="86" y="15"/>
                </a:cxn>
                <a:cxn ang="0">
                  <a:pos x="89" y="42"/>
                </a:cxn>
                <a:cxn ang="0">
                  <a:pos x="92" y="15"/>
                </a:cxn>
                <a:cxn ang="0">
                  <a:pos x="91" y="56"/>
                </a:cxn>
                <a:cxn ang="0">
                  <a:pos x="82" y="66"/>
                </a:cxn>
              </a:cxnLst>
              <a:rect l="0" t="0" r="r" b="b"/>
              <a:pathLst>
                <a:path w="97" h="66">
                  <a:moveTo>
                    <a:pt x="9" y="22"/>
                  </a:moveTo>
                  <a:cubicBezTo>
                    <a:pt x="9" y="20"/>
                    <a:pt x="8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8"/>
                    <a:pt x="6" y="31"/>
                    <a:pt x="9" y="35"/>
                  </a:cubicBezTo>
                  <a:cubicBezTo>
                    <a:pt x="13" y="38"/>
                    <a:pt x="14" y="42"/>
                    <a:pt x="14" y="46"/>
                  </a:cubicBezTo>
                  <a:cubicBezTo>
                    <a:pt x="14" y="52"/>
                    <a:pt x="12" y="56"/>
                    <a:pt x="7" y="56"/>
                  </a:cubicBezTo>
                  <a:cubicBezTo>
                    <a:pt x="3" y="56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9" y="50"/>
                    <a:pt x="9" y="48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2"/>
                    <a:pt x="8" y="40"/>
                    <a:pt x="5" y="36"/>
                  </a:cubicBezTo>
                  <a:cubicBezTo>
                    <a:pt x="2" y="33"/>
                    <a:pt x="0" y="29"/>
                    <a:pt x="0" y="25"/>
                  </a:cubicBezTo>
                  <a:cubicBezTo>
                    <a:pt x="0" y="18"/>
                    <a:pt x="3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9" y="29"/>
                    <a:pt x="9" y="29"/>
                    <a:pt x="9" y="29"/>
                  </a:cubicBezTo>
                  <a:lnTo>
                    <a:pt x="9" y="22"/>
                  </a:lnTo>
                  <a:close/>
                  <a:moveTo>
                    <a:pt x="23" y="48"/>
                  </a:moveTo>
                  <a:cubicBezTo>
                    <a:pt x="23" y="50"/>
                    <a:pt x="23" y="51"/>
                    <a:pt x="25" y="51"/>
                  </a:cubicBezTo>
                  <a:cubicBezTo>
                    <a:pt x="27" y="51"/>
                    <a:pt x="28" y="50"/>
                    <a:pt x="28" y="48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7" y="55"/>
                    <a:pt x="26" y="56"/>
                    <a:pt x="23" y="56"/>
                  </a:cubicBezTo>
                  <a:cubicBezTo>
                    <a:pt x="20" y="56"/>
                    <a:pt x="18" y="52"/>
                    <a:pt x="18" y="4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48"/>
                    <a:pt x="23" y="48"/>
                    <a:pt x="23" y="48"/>
                  </a:cubicBezTo>
                  <a:close/>
                  <a:moveTo>
                    <a:pt x="36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36" y="56"/>
                    <a:pt x="36" y="56"/>
                    <a:pt x="36" y="56"/>
                  </a:cubicBezTo>
                  <a:lnTo>
                    <a:pt x="36" y="0"/>
                  </a:lnTo>
                  <a:close/>
                  <a:moveTo>
                    <a:pt x="45" y="15"/>
                  </a:moveTo>
                  <a:cubicBezTo>
                    <a:pt x="50" y="15"/>
                    <a:pt x="50" y="15"/>
                    <a:pt x="50" y="15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1" y="15"/>
                    <a:pt x="53" y="15"/>
                    <a:pt x="54" y="15"/>
                  </a:cubicBezTo>
                  <a:cubicBezTo>
                    <a:pt x="58" y="15"/>
                    <a:pt x="59" y="18"/>
                    <a:pt x="59" y="24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53"/>
                    <a:pt x="58" y="56"/>
                    <a:pt x="54" y="56"/>
                  </a:cubicBezTo>
                  <a:cubicBezTo>
                    <a:pt x="51" y="56"/>
                    <a:pt x="50" y="55"/>
                    <a:pt x="50" y="54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45" y="66"/>
                    <a:pt x="45" y="66"/>
                    <a:pt x="45" y="66"/>
                  </a:cubicBezTo>
                  <a:lnTo>
                    <a:pt x="45" y="15"/>
                  </a:lnTo>
                  <a:close/>
                  <a:moveTo>
                    <a:pt x="55" y="48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55" y="20"/>
                    <a:pt x="54" y="20"/>
                    <a:pt x="52" y="20"/>
                  </a:cubicBezTo>
                  <a:cubicBezTo>
                    <a:pt x="50" y="20"/>
                    <a:pt x="50" y="20"/>
                    <a:pt x="50" y="23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0"/>
                    <a:pt x="50" y="51"/>
                    <a:pt x="52" y="51"/>
                  </a:cubicBezTo>
                  <a:cubicBezTo>
                    <a:pt x="54" y="51"/>
                    <a:pt x="55" y="50"/>
                    <a:pt x="55" y="48"/>
                  </a:cubicBezTo>
                  <a:close/>
                  <a:moveTo>
                    <a:pt x="73" y="37"/>
                  </a:moveTo>
                  <a:cubicBezTo>
                    <a:pt x="73" y="38"/>
                    <a:pt x="72" y="38"/>
                    <a:pt x="72" y="38"/>
                  </a:cubicBezTo>
                  <a:cubicBezTo>
                    <a:pt x="71" y="39"/>
                    <a:pt x="71" y="39"/>
                    <a:pt x="70" y="40"/>
                  </a:cubicBezTo>
                  <a:cubicBezTo>
                    <a:pt x="69" y="40"/>
                    <a:pt x="69" y="42"/>
                    <a:pt x="69" y="43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50"/>
                    <a:pt x="69" y="51"/>
                    <a:pt x="71" y="51"/>
                  </a:cubicBezTo>
                  <a:cubicBezTo>
                    <a:pt x="72" y="51"/>
                    <a:pt x="73" y="50"/>
                    <a:pt x="73" y="48"/>
                  </a:cubicBezTo>
                  <a:lnTo>
                    <a:pt x="73" y="37"/>
                  </a:lnTo>
                  <a:close/>
                  <a:moveTo>
                    <a:pt x="64" y="43"/>
                  </a:moveTo>
                  <a:cubicBezTo>
                    <a:pt x="64" y="40"/>
                    <a:pt x="65" y="37"/>
                    <a:pt x="68" y="36"/>
                  </a:cubicBezTo>
                  <a:cubicBezTo>
                    <a:pt x="69" y="34"/>
                    <a:pt x="70" y="34"/>
                    <a:pt x="71" y="33"/>
                  </a:cubicBezTo>
                  <a:cubicBezTo>
                    <a:pt x="72" y="33"/>
                    <a:pt x="73" y="32"/>
                    <a:pt x="73" y="32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0"/>
                    <a:pt x="73" y="20"/>
                    <a:pt x="71" y="20"/>
                  </a:cubicBezTo>
                  <a:cubicBezTo>
                    <a:pt x="70" y="20"/>
                    <a:pt x="69" y="20"/>
                    <a:pt x="69" y="23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18"/>
                    <a:pt x="67" y="15"/>
                    <a:pt x="71" y="15"/>
                  </a:cubicBezTo>
                  <a:cubicBezTo>
                    <a:pt x="76" y="15"/>
                    <a:pt x="78" y="18"/>
                    <a:pt x="78" y="24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5"/>
                    <a:pt x="71" y="56"/>
                    <a:pt x="69" y="56"/>
                  </a:cubicBezTo>
                  <a:cubicBezTo>
                    <a:pt x="65" y="56"/>
                    <a:pt x="64" y="52"/>
                    <a:pt x="64" y="46"/>
                  </a:cubicBezTo>
                  <a:cubicBezTo>
                    <a:pt x="64" y="43"/>
                    <a:pt x="64" y="43"/>
                    <a:pt x="64" y="43"/>
                  </a:cubicBezTo>
                  <a:close/>
                  <a:moveTo>
                    <a:pt x="78" y="9"/>
                  </a:moveTo>
                  <a:cubicBezTo>
                    <a:pt x="71" y="13"/>
                    <a:pt x="71" y="13"/>
                    <a:pt x="71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72" y="9"/>
                    <a:pt x="72" y="9"/>
                    <a:pt x="72" y="9"/>
                  </a:cubicBezTo>
                  <a:lnTo>
                    <a:pt x="78" y="9"/>
                  </a:lnTo>
                  <a:close/>
                  <a:moveTo>
                    <a:pt x="82" y="61"/>
                  </a:moveTo>
                  <a:cubicBezTo>
                    <a:pt x="85" y="61"/>
                    <a:pt x="86" y="59"/>
                    <a:pt x="87" y="5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9"/>
                    <a:pt x="90" y="62"/>
                    <a:pt x="88" y="63"/>
                  </a:cubicBezTo>
                  <a:cubicBezTo>
                    <a:pt x="86" y="65"/>
                    <a:pt x="85" y="66"/>
                    <a:pt x="82" y="66"/>
                  </a:cubicBezTo>
                  <a:cubicBezTo>
                    <a:pt x="82" y="61"/>
                    <a:pt x="82" y="61"/>
                    <a:pt x="82" y="61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/>
          </p:nvSpPr>
          <p:spPr bwMode="auto">
            <a:xfrm>
              <a:off x="4589463" y="2679315"/>
              <a:ext cx="158750" cy="229791"/>
            </a:xfrm>
            <a:custGeom>
              <a:avLst/>
              <a:gdLst/>
              <a:ahLst/>
              <a:cxnLst>
                <a:cxn ang="0">
                  <a:pos x="51" y="101"/>
                </a:cxn>
                <a:cxn ang="0">
                  <a:pos x="23" y="99"/>
                </a:cxn>
                <a:cxn ang="0">
                  <a:pos x="23" y="104"/>
                </a:cxn>
                <a:cxn ang="0">
                  <a:pos x="56" y="94"/>
                </a:cxn>
                <a:cxn ang="0">
                  <a:pos x="54" y="99"/>
                </a:cxn>
                <a:cxn ang="0">
                  <a:pos x="46" y="108"/>
                </a:cxn>
                <a:cxn ang="0">
                  <a:pos x="15" y="103"/>
                </a:cxn>
                <a:cxn ang="0">
                  <a:pos x="0" y="99"/>
                </a:cxn>
                <a:cxn ang="0">
                  <a:pos x="56" y="94"/>
                </a:cxn>
                <a:cxn ang="0">
                  <a:pos x="38" y="82"/>
                </a:cxn>
                <a:cxn ang="0">
                  <a:pos x="43" y="85"/>
                </a:cxn>
                <a:cxn ang="0">
                  <a:pos x="51" y="82"/>
                </a:cxn>
                <a:cxn ang="0">
                  <a:pos x="37" y="80"/>
                </a:cxn>
                <a:cxn ang="0">
                  <a:pos x="35" y="86"/>
                </a:cxn>
                <a:cxn ang="0">
                  <a:pos x="32" y="80"/>
                </a:cxn>
                <a:cxn ang="0">
                  <a:pos x="20" y="82"/>
                </a:cxn>
                <a:cxn ang="0">
                  <a:pos x="30" y="84"/>
                </a:cxn>
                <a:cxn ang="0">
                  <a:pos x="24" y="89"/>
                </a:cxn>
                <a:cxn ang="0">
                  <a:pos x="24" y="75"/>
                </a:cxn>
                <a:cxn ang="0">
                  <a:pos x="56" y="80"/>
                </a:cxn>
                <a:cxn ang="0">
                  <a:pos x="56" y="84"/>
                </a:cxn>
                <a:cxn ang="0">
                  <a:pos x="43" y="89"/>
                </a:cxn>
                <a:cxn ang="0">
                  <a:pos x="20" y="63"/>
                </a:cxn>
                <a:cxn ang="0">
                  <a:pos x="56" y="66"/>
                </a:cxn>
                <a:cxn ang="0">
                  <a:pos x="15" y="71"/>
                </a:cxn>
                <a:cxn ang="0">
                  <a:pos x="16" y="66"/>
                </a:cxn>
                <a:cxn ang="0">
                  <a:pos x="24" y="56"/>
                </a:cxn>
                <a:cxn ang="0">
                  <a:pos x="56" y="61"/>
                </a:cxn>
                <a:cxn ang="0">
                  <a:pos x="0" y="52"/>
                </a:cxn>
                <a:cxn ang="0">
                  <a:pos x="34" y="47"/>
                </a:cxn>
                <a:cxn ang="0">
                  <a:pos x="15" y="41"/>
                </a:cxn>
                <a:cxn ang="0">
                  <a:pos x="35" y="43"/>
                </a:cxn>
                <a:cxn ang="0">
                  <a:pos x="56" y="41"/>
                </a:cxn>
                <a:cxn ang="0">
                  <a:pos x="37" y="47"/>
                </a:cxn>
                <a:cxn ang="0">
                  <a:pos x="56" y="52"/>
                </a:cxn>
                <a:cxn ang="0">
                  <a:pos x="23" y="23"/>
                </a:cxn>
                <a:cxn ang="0">
                  <a:pos x="23" y="29"/>
                </a:cxn>
                <a:cxn ang="0">
                  <a:pos x="51" y="26"/>
                </a:cxn>
                <a:cxn ang="0">
                  <a:pos x="23" y="23"/>
                </a:cxn>
                <a:cxn ang="0">
                  <a:pos x="56" y="26"/>
                </a:cxn>
                <a:cxn ang="0">
                  <a:pos x="24" y="33"/>
                </a:cxn>
                <a:cxn ang="0">
                  <a:pos x="24" y="18"/>
                </a:cxn>
                <a:cxn ang="0">
                  <a:pos x="23" y="4"/>
                </a:cxn>
                <a:cxn ang="0">
                  <a:pos x="23" y="9"/>
                </a:cxn>
                <a:cxn ang="0">
                  <a:pos x="56" y="14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56" y="0"/>
                </a:cxn>
                <a:cxn ang="0">
                  <a:pos x="23" y="4"/>
                </a:cxn>
              </a:cxnLst>
              <a:rect l="0" t="0" r="r" b="b"/>
              <a:pathLst>
                <a:path w="56" h="108">
                  <a:moveTo>
                    <a:pt x="48" y="104"/>
                  </a:moveTo>
                  <a:cubicBezTo>
                    <a:pt x="50" y="104"/>
                    <a:pt x="51" y="103"/>
                    <a:pt x="51" y="101"/>
                  </a:cubicBezTo>
                  <a:cubicBezTo>
                    <a:pt x="51" y="99"/>
                    <a:pt x="50" y="99"/>
                    <a:pt x="48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0" y="99"/>
                    <a:pt x="20" y="99"/>
                    <a:pt x="20" y="101"/>
                  </a:cubicBezTo>
                  <a:cubicBezTo>
                    <a:pt x="20" y="103"/>
                    <a:pt x="20" y="104"/>
                    <a:pt x="23" y="104"/>
                  </a:cubicBezTo>
                  <a:lnTo>
                    <a:pt x="48" y="104"/>
                  </a:lnTo>
                  <a:close/>
                  <a:moveTo>
                    <a:pt x="56" y="94"/>
                  </a:moveTo>
                  <a:cubicBezTo>
                    <a:pt x="56" y="99"/>
                    <a:pt x="56" y="99"/>
                    <a:pt x="56" y="99"/>
                  </a:cubicBezTo>
                  <a:cubicBezTo>
                    <a:pt x="54" y="99"/>
                    <a:pt x="54" y="99"/>
                    <a:pt x="54" y="99"/>
                  </a:cubicBezTo>
                  <a:cubicBezTo>
                    <a:pt x="55" y="100"/>
                    <a:pt x="56" y="102"/>
                    <a:pt x="56" y="103"/>
                  </a:cubicBezTo>
                  <a:cubicBezTo>
                    <a:pt x="56" y="107"/>
                    <a:pt x="52" y="108"/>
                    <a:pt x="46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18" y="108"/>
                    <a:pt x="15" y="107"/>
                    <a:pt x="15" y="103"/>
                  </a:cubicBezTo>
                  <a:cubicBezTo>
                    <a:pt x="15" y="100"/>
                    <a:pt x="15" y="99"/>
                    <a:pt x="1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4"/>
                    <a:pt x="0" y="94"/>
                    <a:pt x="0" y="94"/>
                  </a:cubicBezTo>
                  <a:lnTo>
                    <a:pt x="56" y="94"/>
                  </a:lnTo>
                  <a:close/>
                  <a:moveTo>
                    <a:pt x="37" y="80"/>
                  </a:moveTo>
                  <a:cubicBezTo>
                    <a:pt x="38" y="80"/>
                    <a:pt x="38" y="81"/>
                    <a:pt x="38" y="82"/>
                  </a:cubicBezTo>
                  <a:cubicBezTo>
                    <a:pt x="39" y="82"/>
                    <a:pt x="39" y="82"/>
                    <a:pt x="39" y="83"/>
                  </a:cubicBezTo>
                  <a:cubicBezTo>
                    <a:pt x="40" y="84"/>
                    <a:pt x="42" y="85"/>
                    <a:pt x="43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50" y="85"/>
                    <a:pt x="51" y="84"/>
                    <a:pt x="51" y="82"/>
                  </a:cubicBezTo>
                  <a:cubicBezTo>
                    <a:pt x="51" y="81"/>
                    <a:pt x="50" y="80"/>
                    <a:pt x="48" y="80"/>
                  </a:cubicBezTo>
                  <a:lnTo>
                    <a:pt x="37" y="80"/>
                  </a:lnTo>
                  <a:close/>
                  <a:moveTo>
                    <a:pt x="43" y="89"/>
                  </a:moveTo>
                  <a:cubicBezTo>
                    <a:pt x="39" y="89"/>
                    <a:pt x="37" y="88"/>
                    <a:pt x="35" y="86"/>
                  </a:cubicBezTo>
                  <a:cubicBezTo>
                    <a:pt x="34" y="85"/>
                    <a:pt x="34" y="84"/>
                    <a:pt x="33" y="82"/>
                  </a:cubicBezTo>
                  <a:cubicBezTo>
                    <a:pt x="33" y="81"/>
                    <a:pt x="32" y="81"/>
                    <a:pt x="32" y="80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0" y="80"/>
                    <a:pt x="20" y="81"/>
                    <a:pt x="20" y="82"/>
                  </a:cubicBezTo>
                  <a:cubicBezTo>
                    <a:pt x="20" y="84"/>
                    <a:pt x="20" y="84"/>
                    <a:pt x="23" y="84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18" y="89"/>
                    <a:pt x="15" y="87"/>
                    <a:pt x="15" y="82"/>
                  </a:cubicBezTo>
                  <a:cubicBezTo>
                    <a:pt x="15" y="77"/>
                    <a:pt x="18" y="75"/>
                    <a:pt x="24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5" y="81"/>
                    <a:pt x="56" y="82"/>
                    <a:pt x="56" y="84"/>
                  </a:cubicBezTo>
                  <a:cubicBezTo>
                    <a:pt x="56" y="88"/>
                    <a:pt x="52" y="89"/>
                    <a:pt x="46" y="89"/>
                  </a:cubicBezTo>
                  <a:cubicBezTo>
                    <a:pt x="43" y="89"/>
                    <a:pt x="43" y="89"/>
                    <a:pt x="43" y="89"/>
                  </a:cubicBezTo>
                  <a:close/>
                  <a:moveTo>
                    <a:pt x="23" y="61"/>
                  </a:moveTo>
                  <a:cubicBezTo>
                    <a:pt x="20" y="61"/>
                    <a:pt x="20" y="62"/>
                    <a:pt x="20" y="63"/>
                  </a:cubicBezTo>
                  <a:cubicBezTo>
                    <a:pt x="20" y="65"/>
                    <a:pt x="20" y="66"/>
                    <a:pt x="23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5" y="65"/>
                    <a:pt x="15" y="64"/>
                    <a:pt x="15" y="62"/>
                  </a:cubicBezTo>
                  <a:cubicBezTo>
                    <a:pt x="15" y="58"/>
                    <a:pt x="18" y="56"/>
                    <a:pt x="24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23" y="61"/>
                    <a:pt x="23" y="61"/>
                    <a:pt x="23" y="61"/>
                  </a:cubicBezTo>
                  <a:close/>
                  <a:moveTo>
                    <a:pt x="0" y="52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2"/>
                    <a:pt x="56" y="52"/>
                    <a:pt x="56" y="52"/>
                  </a:cubicBezTo>
                  <a:lnTo>
                    <a:pt x="0" y="52"/>
                  </a:lnTo>
                  <a:close/>
                  <a:moveTo>
                    <a:pt x="23" y="23"/>
                  </a:moveTo>
                  <a:cubicBezTo>
                    <a:pt x="20" y="23"/>
                    <a:pt x="20" y="24"/>
                    <a:pt x="20" y="26"/>
                  </a:cubicBezTo>
                  <a:cubicBezTo>
                    <a:pt x="20" y="27"/>
                    <a:pt x="20" y="29"/>
                    <a:pt x="23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50" y="29"/>
                    <a:pt x="51" y="27"/>
                    <a:pt x="51" y="26"/>
                  </a:cubicBezTo>
                  <a:cubicBezTo>
                    <a:pt x="51" y="24"/>
                    <a:pt x="50" y="23"/>
                    <a:pt x="48" y="23"/>
                  </a:cubicBezTo>
                  <a:lnTo>
                    <a:pt x="23" y="23"/>
                  </a:lnTo>
                  <a:close/>
                  <a:moveTo>
                    <a:pt x="46" y="18"/>
                  </a:moveTo>
                  <a:cubicBezTo>
                    <a:pt x="52" y="18"/>
                    <a:pt x="56" y="21"/>
                    <a:pt x="56" y="26"/>
                  </a:cubicBezTo>
                  <a:cubicBezTo>
                    <a:pt x="56" y="31"/>
                    <a:pt x="52" y="33"/>
                    <a:pt x="46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33"/>
                    <a:pt x="15" y="31"/>
                    <a:pt x="15" y="26"/>
                  </a:cubicBezTo>
                  <a:cubicBezTo>
                    <a:pt x="15" y="21"/>
                    <a:pt x="18" y="18"/>
                    <a:pt x="24" y="18"/>
                  </a:cubicBezTo>
                  <a:lnTo>
                    <a:pt x="46" y="18"/>
                  </a:lnTo>
                  <a:close/>
                  <a:moveTo>
                    <a:pt x="23" y="4"/>
                  </a:moveTo>
                  <a:cubicBezTo>
                    <a:pt x="20" y="4"/>
                    <a:pt x="20" y="6"/>
                    <a:pt x="20" y="7"/>
                  </a:cubicBezTo>
                  <a:cubicBezTo>
                    <a:pt x="20" y="9"/>
                    <a:pt x="20" y="9"/>
                    <a:pt x="23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9"/>
                    <a:pt x="15" y="8"/>
                    <a:pt x="15" y="6"/>
                  </a:cubicBezTo>
                  <a:cubicBezTo>
                    <a:pt x="15" y="2"/>
                    <a:pt x="18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23" y="4"/>
                    <a:pt x="23" y="4"/>
                    <a:pt x="23" y="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 noEditPoints="1"/>
            </p:cNvSpPr>
            <p:nvPr/>
          </p:nvSpPr>
          <p:spPr bwMode="auto">
            <a:xfrm>
              <a:off x="1603376" y="2662646"/>
              <a:ext cx="184150" cy="195263"/>
            </a:xfrm>
            <a:custGeom>
              <a:avLst/>
              <a:gdLst/>
              <a:ahLst/>
              <a:cxnLst>
                <a:cxn ang="0">
                  <a:pos x="49" y="85"/>
                </a:cxn>
                <a:cxn ang="0">
                  <a:pos x="21" y="83"/>
                </a:cxn>
                <a:cxn ang="0">
                  <a:pos x="21" y="87"/>
                </a:cxn>
                <a:cxn ang="0">
                  <a:pos x="60" y="85"/>
                </a:cxn>
                <a:cxn ang="0">
                  <a:pos x="52" y="83"/>
                </a:cxn>
                <a:cxn ang="0">
                  <a:pos x="44" y="92"/>
                </a:cxn>
                <a:cxn ang="0">
                  <a:pos x="14" y="87"/>
                </a:cxn>
                <a:cxn ang="0">
                  <a:pos x="14" y="83"/>
                </a:cxn>
                <a:cxn ang="0">
                  <a:pos x="55" y="78"/>
                </a:cxn>
                <a:cxn ang="0">
                  <a:pos x="57" y="92"/>
                </a:cxn>
                <a:cxn ang="0">
                  <a:pos x="60" y="85"/>
                </a:cxn>
                <a:cxn ang="0">
                  <a:pos x="14" y="64"/>
                </a:cxn>
                <a:cxn ang="0">
                  <a:pos x="19" y="66"/>
                </a:cxn>
                <a:cxn ang="0">
                  <a:pos x="55" y="69"/>
                </a:cxn>
                <a:cxn ang="0">
                  <a:pos x="14" y="73"/>
                </a:cxn>
                <a:cxn ang="0">
                  <a:pos x="15" y="69"/>
                </a:cxn>
                <a:cxn ang="0">
                  <a:pos x="38" y="53"/>
                </a:cxn>
                <a:cxn ang="0">
                  <a:pos x="43" y="56"/>
                </a:cxn>
                <a:cxn ang="0">
                  <a:pos x="50" y="54"/>
                </a:cxn>
                <a:cxn ang="0">
                  <a:pos x="37" y="52"/>
                </a:cxn>
                <a:cxn ang="0">
                  <a:pos x="35" y="57"/>
                </a:cxn>
                <a:cxn ang="0">
                  <a:pos x="30" y="52"/>
                </a:cxn>
                <a:cxn ang="0">
                  <a:pos x="19" y="54"/>
                </a:cxn>
                <a:cxn ang="0">
                  <a:pos x="29" y="56"/>
                </a:cxn>
                <a:cxn ang="0">
                  <a:pos x="24" y="61"/>
                </a:cxn>
                <a:cxn ang="0">
                  <a:pos x="24" y="47"/>
                </a:cxn>
                <a:cxn ang="0">
                  <a:pos x="55" y="52"/>
                </a:cxn>
                <a:cxn ang="0">
                  <a:pos x="55" y="56"/>
                </a:cxn>
                <a:cxn ang="0">
                  <a:pos x="42" y="61"/>
                </a:cxn>
                <a:cxn ang="0">
                  <a:pos x="11" y="52"/>
                </a:cxn>
                <a:cxn ang="0">
                  <a:pos x="8" y="61"/>
                </a:cxn>
                <a:cxn ang="0">
                  <a:pos x="21" y="33"/>
                </a:cxn>
                <a:cxn ang="0">
                  <a:pos x="21" y="38"/>
                </a:cxn>
                <a:cxn ang="0">
                  <a:pos x="50" y="35"/>
                </a:cxn>
                <a:cxn ang="0">
                  <a:pos x="39" y="33"/>
                </a:cxn>
                <a:cxn ang="0">
                  <a:pos x="45" y="28"/>
                </a:cxn>
                <a:cxn ang="0">
                  <a:pos x="45" y="42"/>
                </a:cxn>
                <a:cxn ang="0">
                  <a:pos x="14" y="35"/>
                </a:cxn>
                <a:cxn ang="0">
                  <a:pos x="29" y="28"/>
                </a:cxn>
                <a:cxn ang="0">
                  <a:pos x="21" y="33"/>
                </a:cxn>
                <a:cxn ang="0">
                  <a:pos x="58" y="32"/>
                </a:cxn>
                <a:cxn ang="0">
                  <a:pos x="65" y="34"/>
                </a:cxn>
                <a:cxn ang="0">
                  <a:pos x="61" y="35"/>
                </a:cxn>
                <a:cxn ang="0">
                  <a:pos x="62" y="33"/>
                </a:cxn>
                <a:cxn ang="0">
                  <a:pos x="55" y="36"/>
                </a:cxn>
                <a:cxn ang="0">
                  <a:pos x="55" y="34"/>
                </a:cxn>
                <a:cxn ang="0">
                  <a:pos x="7" y="19"/>
                </a:cxn>
                <a:cxn ang="0">
                  <a:pos x="0" y="24"/>
                </a:cxn>
                <a:cxn ang="0">
                  <a:pos x="7" y="19"/>
                </a:cxn>
                <a:cxn ang="0">
                  <a:pos x="55" y="24"/>
                </a:cxn>
                <a:cxn ang="0">
                  <a:pos x="14" y="19"/>
                </a:cxn>
                <a:cxn ang="0">
                  <a:pos x="30" y="10"/>
                </a:cxn>
                <a:cxn ang="0">
                  <a:pos x="21" y="5"/>
                </a:cxn>
                <a:cxn ang="0">
                  <a:pos x="21" y="10"/>
                </a:cxn>
                <a:cxn ang="0">
                  <a:pos x="47" y="10"/>
                </a:cxn>
                <a:cxn ang="0">
                  <a:pos x="47" y="5"/>
                </a:cxn>
                <a:cxn ang="0">
                  <a:pos x="39" y="0"/>
                </a:cxn>
                <a:cxn ang="0">
                  <a:pos x="55" y="7"/>
                </a:cxn>
                <a:cxn ang="0">
                  <a:pos x="24" y="15"/>
                </a:cxn>
                <a:cxn ang="0">
                  <a:pos x="24" y="0"/>
                </a:cxn>
                <a:cxn ang="0">
                  <a:pos x="35" y="10"/>
                </a:cxn>
              </a:cxnLst>
              <a:rect l="0" t="0" r="r" b="b"/>
              <a:pathLst>
                <a:path w="65" h="92">
                  <a:moveTo>
                    <a:pt x="46" y="87"/>
                  </a:moveTo>
                  <a:cubicBezTo>
                    <a:pt x="48" y="87"/>
                    <a:pt x="49" y="87"/>
                    <a:pt x="49" y="85"/>
                  </a:cubicBezTo>
                  <a:cubicBezTo>
                    <a:pt x="49" y="83"/>
                    <a:pt x="48" y="83"/>
                    <a:pt x="47" y="83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0" y="83"/>
                    <a:pt x="19" y="83"/>
                    <a:pt x="19" y="85"/>
                  </a:cubicBezTo>
                  <a:cubicBezTo>
                    <a:pt x="19" y="87"/>
                    <a:pt x="20" y="87"/>
                    <a:pt x="21" y="87"/>
                  </a:cubicBezTo>
                  <a:lnTo>
                    <a:pt x="46" y="87"/>
                  </a:lnTo>
                  <a:close/>
                  <a:moveTo>
                    <a:pt x="60" y="85"/>
                  </a:moveTo>
                  <a:cubicBezTo>
                    <a:pt x="60" y="83"/>
                    <a:pt x="59" y="83"/>
                    <a:pt x="57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3" y="83"/>
                    <a:pt x="54" y="84"/>
                    <a:pt x="54" y="87"/>
                  </a:cubicBezTo>
                  <a:cubicBezTo>
                    <a:pt x="54" y="90"/>
                    <a:pt x="51" y="92"/>
                    <a:pt x="44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17" y="92"/>
                    <a:pt x="14" y="90"/>
                    <a:pt x="14" y="87"/>
                  </a:cubicBezTo>
                  <a:cubicBezTo>
                    <a:pt x="14" y="85"/>
                    <a:pt x="15" y="84"/>
                    <a:pt x="16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62" y="78"/>
                    <a:pt x="65" y="80"/>
                    <a:pt x="65" y="85"/>
                  </a:cubicBezTo>
                  <a:cubicBezTo>
                    <a:pt x="65" y="89"/>
                    <a:pt x="62" y="92"/>
                    <a:pt x="57" y="92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9" y="87"/>
                    <a:pt x="60" y="87"/>
                    <a:pt x="60" y="85"/>
                  </a:cubicBezTo>
                  <a:close/>
                  <a:moveTo>
                    <a:pt x="15" y="69"/>
                  </a:moveTo>
                  <a:cubicBezTo>
                    <a:pt x="14" y="68"/>
                    <a:pt x="14" y="66"/>
                    <a:pt x="14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9" y="65"/>
                    <a:pt x="19" y="65"/>
                    <a:pt x="19" y="66"/>
                  </a:cubicBezTo>
                  <a:cubicBezTo>
                    <a:pt x="19" y="67"/>
                    <a:pt x="20" y="69"/>
                    <a:pt x="21" y="69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5" y="69"/>
                    <a:pt x="15" y="69"/>
                    <a:pt x="15" y="69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3"/>
                    <a:pt x="38" y="53"/>
                  </a:cubicBezTo>
                  <a:cubicBezTo>
                    <a:pt x="38" y="54"/>
                    <a:pt x="38" y="55"/>
                    <a:pt x="39" y="55"/>
                  </a:cubicBezTo>
                  <a:cubicBezTo>
                    <a:pt x="39" y="56"/>
                    <a:pt x="41" y="56"/>
                    <a:pt x="43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9" y="56"/>
                    <a:pt x="50" y="56"/>
                    <a:pt x="50" y="54"/>
                  </a:cubicBezTo>
                  <a:cubicBezTo>
                    <a:pt x="50" y="52"/>
                    <a:pt x="49" y="52"/>
                    <a:pt x="47" y="52"/>
                  </a:cubicBezTo>
                  <a:cubicBezTo>
                    <a:pt x="37" y="52"/>
                    <a:pt x="37" y="52"/>
                    <a:pt x="37" y="52"/>
                  </a:cubicBezTo>
                  <a:close/>
                  <a:moveTo>
                    <a:pt x="42" y="61"/>
                  </a:moveTo>
                  <a:cubicBezTo>
                    <a:pt x="39" y="61"/>
                    <a:pt x="37" y="60"/>
                    <a:pt x="35" y="57"/>
                  </a:cubicBezTo>
                  <a:cubicBezTo>
                    <a:pt x="34" y="56"/>
                    <a:pt x="33" y="55"/>
                    <a:pt x="32" y="54"/>
                  </a:cubicBezTo>
                  <a:cubicBezTo>
                    <a:pt x="32" y="53"/>
                    <a:pt x="31" y="52"/>
                    <a:pt x="30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0" y="52"/>
                    <a:pt x="19" y="52"/>
                    <a:pt x="19" y="54"/>
                  </a:cubicBezTo>
                  <a:cubicBezTo>
                    <a:pt x="19" y="55"/>
                    <a:pt x="20" y="56"/>
                    <a:pt x="21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7" y="61"/>
                    <a:pt x="14" y="58"/>
                    <a:pt x="14" y="54"/>
                  </a:cubicBezTo>
                  <a:cubicBezTo>
                    <a:pt x="14" y="49"/>
                    <a:pt x="17" y="47"/>
                    <a:pt x="24" y="47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5" y="52"/>
                    <a:pt x="55" y="53"/>
                    <a:pt x="55" y="56"/>
                  </a:cubicBezTo>
                  <a:cubicBezTo>
                    <a:pt x="55" y="59"/>
                    <a:pt x="52" y="61"/>
                    <a:pt x="45" y="61"/>
                  </a:cubicBezTo>
                  <a:cubicBezTo>
                    <a:pt x="42" y="61"/>
                    <a:pt x="42" y="61"/>
                    <a:pt x="42" y="61"/>
                  </a:cubicBezTo>
                  <a:close/>
                  <a:moveTo>
                    <a:pt x="8" y="55"/>
                  </a:moveTo>
                  <a:cubicBezTo>
                    <a:pt x="11" y="52"/>
                    <a:pt x="11" y="52"/>
                    <a:pt x="11" y="52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8" y="61"/>
                    <a:pt x="8" y="61"/>
                    <a:pt x="8" y="61"/>
                  </a:cubicBezTo>
                  <a:lnTo>
                    <a:pt x="8" y="55"/>
                  </a:lnTo>
                  <a:close/>
                  <a:moveTo>
                    <a:pt x="21" y="33"/>
                  </a:moveTo>
                  <a:cubicBezTo>
                    <a:pt x="20" y="33"/>
                    <a:pt x="19" y="34"/>
                    <a:pt x="19" y="35"/>
                  </a:cubicBezTo>
                  <a:cubicBezTo>
                    <a:pt x="19" y="37"/>
                    <a:pt x="20" y="38"/>
                    <a:pt x="21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9" y="38"/>
                    <a:pt x="50" y="37"/>
                    <a:pt x="50" y="35"/>
                  </a:cubicBezTo>
                  <a:cubicBezTo>
                    <a:pt x="50" y="33"/>
                    <a:pt x="49" y="33"/>
                    <a:pt x="47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52" y="28"/>
                    <a:pt x="55" y="30"/>
                    <a:pt x="55" y="35"/>
                  </a:cubicBezTo>
                  <a:cubicBezTo>
                    <a:pt x="55" y="40"/>
                    <a:pt x="52" y="42"/>
                    <a:pt x="45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7" y="42"/>
                    <a:pt x="14" y="40"/>
                    <a:pt x="14" y="35"/>
                  </a:cubicBezTo>
                  <a:cubicBezTo>
                    <a:pt x="14" y="30"/>
                    <a:pt x="17" y="28"/>
                    <a:pt x="2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33"/>
                    <a:pt x="29" y="33"/>
                    <a:pt x="29" y="33"/>
                  </a:cubicBezTo>
                  <a:lnTo>
                    <a:pt x="21" y="33"/>
                  </a:lnTo>
                  <a:close/>
                  <a:moveTo>
                    <a:pt x="55" y="34"/>
                  </a:moveTo>
                  <a:cubicBezTo>
                    <a:pt x="56" y="34"/>
                    <a:pt x="57" y="33"/>
                    <a:pt x="58" y="32"/>
                  </a:cubicBezTo>
                  <a:cubicBezTo>
                    <a:pt x="59" y="31"/>
                    <a:pt x="60" y="30"/>
                    <a:pt x="61" y="30"/>
                  </a:cubicBezTo>
                  <a:cubicBezTo>
                    <a:pt x="64" y="30"/>
                    <a:pt x="65" y="32"/>
                    <a:pt x="65" y="34"/>
                  </a:cubicBezTo>
                  <a:cubicBezTo>
                    <a:pt x="65" y="37"/>
                    <a:pt x="64" y="38"/>
                    <a:pt x="61" y="38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5"/>
                    <a:pt x="64" y="35"/>
                    <a:pt x="64" y="34"/>
                  </a:cubicBezTo>
                  <a:cubicBezTo>
                    <a:pt x="64" y="33"/>
                    <a:pt x="63" y="33"/>
                    <a:pt x="62" y="33"/>
                  </a:cubicBezTo>
                  <a:cubicBezTo>
                    <a:pt x="61" y="33"/>
                    <a:pt x="60" y="34"/>
                    <a:pt x="59" y="34"/>
                  </a:cubicBezTo>
                  <a:cubicBezTo>
                    <a:pt x="58" y="35"/>
                    <a:pt x="57" y="36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7" y="19"/>
                  </a:moveTo>
                  <a:cubicBezTo>
                    <a:pt x="7" y="24"/>
                    <a:pt x="7" y="24"/>
                    <a:pt x="7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7" y="19"/>
                  </a:lnTo>
                  <a:close/>
                  <a:moveTo>
                    <a:pt x="55" y="19"/>
                  </a:moveTo>
                  <a:cubicBezTo>
                    <a:pt x="55" y="24"/>
                    <a:pt x="55" y="24"/>
                    <a:pt x="5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19"/>
                    <a:pt x="14" y="19"/>
                    <a:pt x="14" y="19"/>
                  </a:cubicBezTo>
                  <a:lnTo>
                    <a:pt x="55" y="19"/>
                  </a:lnTo>
                  <a:close/>
                  <a:moveTo>
                    <a:pt x="30" y="10"/>
                  </a:moveTo>
                  <a:cubicBezTo>
                    <a:pt x="30" y="5"/>
                    <a:pt x="30" y="5"/>
                    <a:pt x="30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5"/>
                    <a:pt x="19" y="6"/>
                    <a:pt x="19" y="7"/>
                  </a:cubicBezTo>
                  <a:cubicBezTo>
                    <a:pt x="19" y="9"/>
                    <a:pt x="20" y="10"/>
                    <a:pt x="21" y="10"/>
                  </a:cubicBezTo>
                  <a:lnTo>
                    <a:pt x="30" y="10"/>
                  </a:lnTo>
                  <a:close/>
                  <a:moveTo>
                    <a:pt x="47" y="10"/>
                  </a:moveTo>
                  <a:cubicBezTo>
                    <a:pt x="49" y="10"/>
                    <a:pt x="50" y="9"/>
                    <a:pt x="50" y="7"/>
                  </a:cubicBezTo>
                  <a:cubicBezTo>
                    <a:pt x="50" y="6"/>
                    <a:pt x="49" y="5"/>
                    <a:pt x="47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2" y="0"/>
                    <a:pt x="55" y="2"/>
                    <a:pt x="55" y="7"/>
                  </a:cubicBezTo>
                  <a:cubicBezTo>
                    <a:pt x="55" y="12"/>
                    <a:pt x="52" y="15"/>
                    <a:pt x="45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7" y="15"/>
                    <a:pt x="14" y="12"/>
                    <a:pt x="14" y="7"/>
                  </a:cubicBezTo>
                  <a:cubicBezTo>
                    <a:pt x="14" y="2"/>
                    <a:pt x="17" y="0"/>
                    <a:pt x="2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47" y="10"/>
                    <a:pt x="47" y="10"/>
                    <a:pt x="47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/>
          </p:nvSpPr>
          <p:spPr bwMode="auto">
            <a:xfrm>
              <a:off x="7215188" y="1968512"/>
              <a:ext cx="158750" cy="228600"/>
            </a:xfrm>
            <a:custGeom>
              <a:avLst/>
              <a:gdLst/>
              <a:ahLst/>
              <a:cxnLst>
                <a:cxn ang="0">
                  <a:pos x="20" y="91"/>
                </a:cxn>
                <a:cxn ang="0">
                  <a:pos x="56" y="93"/>
                </a:cxn>
                <a:cxn ang="0">
                  <a:pos x="23" y="98"/>
                </a:cxn>
                <a:cxn ang="0">
                  <a:pos x="23" y="103"/>
                </a:cxn>
                <a:cxn ang="0">
                  <a:pos x="56" y="108"/>
                </a:cxn>
                <a:cxn ang="0">
                  <a:pos x="15" y="103"/>
                </a:cxn>
                <a:cxn ang="0">
                  <a:pos x="15" y="99"/>
                </a:cxn>
                <a:cxn ang="0">
                  <a:pos x="15" y="89"/>
                </a:cxn>
                <a:cxn ang="0">
                  <a:pos x="56" y="84"/>
                </a:cxn>
                <a:cxn ang="0">
                  <a:pos x="23" y="88"/>
                </a:cxn>
                <a:cxn ang="0">
                  <a:pos x="38" y="71"/>
                </a:cxn>
                <a:cxn ang="0">
                  <a:pos x="43" y="74"/>
                </a:cxn>
                <a:cxn ang="0">
                  <a:pos x="51" y="72"/>
                </a:cxn>
                <a:cxn ang="0">
                  <a:pos x="37" y="70"/>
                </a:cxn>
                <a:cxn ang="0">
                  <a:pos x="36" y="75"/>
                </a:cxn>
                <a:cxn ang="0">
                  <a:pos x="32" y="70"/>
                </a:cxn>
                <a:cxn ang="0">
                  <a:pos x="20" y="72"/>
                </a:cxn>
                <a:cxn ang="0">
                  <a:pos x="30" y="74"/>
                </a:cxn>
                <a:cxn ang="0">
                  <a:pos x="24" y="79"/>
                </a:cxn>
                <a:cxn ang="0">
                  <a:pos x="24" y="65"/>
                </a:cxn>
                <a:cxn ang="0">
                  <a:pos x="56" y="70"/>
                </a:cxn>
                <a:cxn ang="0">
                  <a:pos x="56" y="74"/>
                </a:cxn>
                <a:cxn ang="0">
                  <a:pos x="43" y="79"/>
                </a:cxn>
                <a:cxn ang="0">
                  <a:pos x="20" y="53"/>
                </a:cxn>
                <a:cxn ang="0">
                  <a:pos x="56" y="56"/>
                </a:cxn>
                <a:cxn ang="0">
                  <a:pos x="0" y="60"/>
                </a:cxn>
                <a:cxn ang="0">
                  <a:pos x="16" y="56"/>
                </a:cxn>
                <a:cxn ang="0">
                  <a:pos x="24" y="46"/>
                </a:cxn>
                <a:cxn ang="0">
                  <a:pos x="56" y="51"/>
                </a:cxn>
                <a:cxn ang="0">
                  <a:pos x="37" y="32"/>
                </a:cxn>
                <a:cxn ang="0">
                  <a:pos x="39" y="35"/>
                </a:cxn>
                <a:cxn ang="0">
                  <a:pos x="48" y="37"/>
                </a:cxn>
                <a:cxn ang="0">
                  <a:pos x="48" y="32"/>
                </a:cxn>
                <a:cxn ang="0">
                  <a:pos x="43" y="42"/>
                </a:cxn>
                <a:cxn ang="0">
                  <a:pos x="33" y="34"/>
                </a:cxn>
                <a:cxn ang="0">
                  <a:pos x="23" y="32"/>
                </a:cxn>
                <a:cxn ang="0">
                  <a:pos x="23" y="36"/>
                </a:cxn>
                <a:cxn ang="0">
                  <a:pos x="30" y="41"/>
                </a:cxn>
                <a:cxn ang="0">
                  <a:pos x="15" y="34"/>
                </a:cxn>
                <a:cxn ang="0">
                  <a:pos x="56" y="27"/>
                </a:cxn>
                <a:cxn ang="0">
                  <a:pos x="54" y="32"/>
                </a:cxn>
                <a:cxn ang="0">
                  <a:pos x="46" y="42"/>
                </a:cxn>
                <a:cxn ang="0">
                  <a:pos x="0" y="23"/>
                </a:cxn>
                <a:cxn ang="0">
                  <a:pos x="56" y="19"/>
                </a:cxn>
                <a:cxn ang="0">
                  <a:pos x="0" y="23"/>
                </a:cxn>
                <a:cxn ang="0">
                  <a:pos x="20" y="7"/>
                </a:cxn>
                <a:cxn ang="0">
                  <a:pos x="48" y="10"/>
                </a:cxn>
                <a:cxn ang="0">
                  <a:pos x="48" y="5"/>
                </a:cxn>
                <a:cxn ang="0">
                  <a:pos x="46" y="0"/>
                </a:cxn>
                <a:cxn ang="0">
                  <a:pos x="46" y="15"/>
                </a:cxn>
                <a:cxn ang="0">
                  <a:pos x="15" y="7"/>
                </a:cxn>
                <a:cxn ang="0">
                  <a:pos x="46" y="0"/>
                </a:cxn>
              </a:cxnLst>
              <a:rect l="0" t="0" r="r" b="b"/>
              <a:pathLst>
                <a:path w="56" h="108">
                  <a:moveTo>
                    <a:pt x="23" y="88"/>
                  </a:moveTo>
                  <a:cubicBezTo>
                    <a:pt x="20" y="88"/>
                    <a:pt x="20" y="89"/>
                    <a:pt x="20" y="91"/>
                  </a:cubicBezTo>
                  <a:cubicBezTo>
                    <a:pt x="20" y="93"/>
                    <a:pt x="20" y="93"/>
                    <a:pt x="23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0" y="98"/>
                    <a:pt x="20" y="99"/>
                    <a:pt x="20" y="101"/>
                  </a:cubicBezTo>
                  <a:cubicBezTo>
                    <a:pt x="20" y="102"/>
                    <a:pt x="20" y="103"/>
                    <a:pt x="23" y="103"/>
                  </a:cubicBezTo>
                  <a:cubicBezTo>
                    <a:pt x="56" y="103"/>
                    <a:pt x="56" y="103"/>
                    <a:pt x="56" y="103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5" y="102"/>
                    <a:pt x="15" y="101"/>
                    <a:pt x="15" y="99"/>
                  </a:cubicBezTo>
                  <a:cubicBezTo>
                    <a:pt x="15" y="97"/>
                    <a:pt x="15" y="96"/>
                    <a:pt x="17" y="94"/>
                  </a:cubicBezTo>
                  <a:cubicBezTo>
                    <a:pt x="15" y="93"/>
                    <a:pt x="15" y="92"/>
                    <a:pt x="15" y="89"/>
                  </a:cubicBezTo>
                  <a:cubicBezTo>
                    <a:pt x="15" y="85"/>
                    <a:pt x="18" y="84"/>
                    <a:pt x="24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23" y="88"/>
                    <a:pt x="23" y="88"/>
                    <a:pt x="23" y="88"/>
                  </a:cubicBezTo>
                  <a:close/>
                  <a:moveTo>
                    <a:pt x="37" y="70"/>
                  </a:moveTo>
                  <a:cubicBezTo>
                    <a:pt x="38" y="70"/>
                    <a:pt x="38" y="71"/>
                    <a:pt x="38" y="71"/>
                  </a:cubicBezTo>
                  <a:cubicBezTo>
                    <a:pt x="39" y="72"/>
                    <a:pt x="39" y="72"/>
                    <a:pt x="39" y="73"/>
                  </a:cubicBezTo>
                  <a:cubicBezTo>
                    <a:pt x="40" y="74"/>
                    <a:pt x="42" y="74"/>
                    <a:pt x="43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50" y="74"/>
                    <a:pt x="51" y="74"/>
                    <a:pt x="51" y="72"/>
                  </a:cubicBezTo>
                  <a:cubicBezTo>
                    <a:pt x="51" y="70"/>
                    <a:pt x="50" y="70"/>
                    <a:pt x="48" y="70"/>
                  </a:cubicBezTo>
                  <a:cubicBezTo>
                    <a:pt x="37" y="70"/>
                    <a:pt x="37" y="70"/>
                    <a:pt x="37" y="70"/>
                  </a:cubicBezTo>
                  <a:close/>
                  <a:moveTo>
                    <a:pt x="43" y="79"/>
                  </a:moveTo>
                  <a:cubicBezTo>
                    <a:pt x="39" y="79"/>
                    <a:pt x="37" y="78"/>
                    <a:pt x="36" y="75"/>
                  </a:cubicBezTo>
                  <a:cubicBezTo>
                    <a:pt x="34" y="74"/>
                    <a:pt x="34" y="73"/>
                    <a:pt x="33" y="72"/>
                  </a:cubicBezTo>
                  <a:cubicBezTo>
                    <a:pt x="33" y="71"/>
                    <a:pt x="32" y="70"/>
                    <a:pt x="32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0" y="70"/>
                    <a:pt x="20" y="70"/>
                    <a:pt x="20" y="72"/>
                  </a:cubicBezTo>
                  <a:cubicBezTo>
                    <a:pt x="20" y="73"/>
                    <a:pt x="20" y="74"/>
                    <a:pt x="23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9"/>
                    <a:pt x="30" y="79"/>
                    <a:pt x="30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18" y="79"/>
                    <a:pt x="15" y="76"/>
                    <a:pt x="15" y="72"/>
                  </a:cubicBezTo>
                  <a:cubicBezTo>
                    <a:pt x="15" y="67"/>
                    <a:pt x="18" y="65"/>
                    <a:pt x="24" y="65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5" y="70"/>
                    <a:pt x="56" y="72"/>
                    <a:pt x="56" y="74"/>
                  </a:cubicBezTo>
                  <a:cubicBezTo>
                    <a:pt x="56" y="78"/>
                    <a:pt x="52" y="79"/>
                    <a:pt x="46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23" y="51"/>
                  </a:moveTo>
                  <a:cubicBezTo>
                    <a:pt x="20" y="51"/>
                    <a:pt x="20" y="52"/>
                    <a:pt x="20" y="53"/>
                  </a:cubicBezTo>
                  <a:cubicBezTo>
                    <a:pt x="20" y="55"/>
                    <a:pt x="20" y="56"/>
                    <a:pt x="23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5" y="55"/>
                    <a:pt x="15" y="54"/>
                    <a:pt x="15" y="52"/>
                  </a:cubicBezTo>
                  <a:cubicBezTo>
                    <a:pt x="15" y="48"/>
                    <a:pt x="18" y="46"/>
                    <a:pt x="24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23" y="51"/>
                    <a:pt x="23" y="51"/>
                    <a:pt x="23" y="51"/>
                  </a:cubicBezTo>
                  <a:close/>
                  <a:moveTo>
                    <a:pt x="37" y="32"/>
                  </a:moveTo>
                  <a:cubicBezTo>
                    <a:pt x="38" y="33"/>
                    <a:pt x="38" y="33"/>
                    <a:pt x="38" y="34"/>
                  </a:cubicBezTo>
                  <a:cubicBezTo>
                    <a:pt x="39" y="34"/>
                    <a:pt x="39" y="35"/>
                    <a:pt x="39" y="35"/>
                  </a:cubicBezTo>
                  <a:cubicBezTo>
                    <a:pt x="40" y="36"/>
                    <a:pt x="42" y="37"/>
                    <a:pt x="43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50" y="37"/>
                    <a:pt x="51" y="36"/>
                    <a:pt x="51" y="34"/>
                  </a:cubicBezTo>
                  <a:cubicBezTo>
                    <a:pt x="51" y="33"/>
                    <a:pt x="50" y="32"/>
                    <a:pt x="48" y="32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43" y="42"/>
                  </a:moveTo>
                  <a:cubicBezTo>
                    <a:pt x="39" y="42"/>
                    <a:pt x="37" y="40"/>
                    <a:pt x="36" y="38"/>
                  </a:cubicBezTo>
                  <a:cubicBezTo>
                    <a:pt x="34" y="37"/>
                    <a:pt x="34" y="35"/>
                    <a:pt x="33" y="34"/>
                  </a:cubicBezTo>
                  <a:cubicBezTo>
                    <a:pt x="33" y="33"/>
                    <a:pt x="32" y="33"/>
                    <a:pt x="32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0" y="35"/>
                    <a:pt x="20" y="36"/>
                    <a:pt x="23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8" y="41"/>
                    <a:pt x="15" y="39"/>
                    <a:pt x="15" y="34"/>
                  </a:cubicBezTo>
                  <a:cubicBezTo>
                    <a:pt x="15" y="29"/>
                    <a:pt x="18" y="27"/>
                    <a:pt x="24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5" y="33"/>
                    <a:pt x="56" y="34"/>
                    <a:pt x="56" y="36"/>
                  </a:cubicBezTo>
                  <a:cubicBezTo>
                    <a:pt x="56" y="40"/>
                    <a:pt x="52" y="42"/>
                    <a:pt x="46" y="42"/>
                  </a:cubicBezTo>
                  <a:lnTo>
                    <a:pt x="43" y="42"/>
                  </a:lnTo>
                  <a:close/>
                  <a:moveTo>
                    <a:pt x="0" y="23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3"/>
                    <a:pt x="56" y="23"/>
                    <a:pt x="56" y="23"/>
                  </a:cubicBezTo>
                  <a:lnTo>
                    <a:pt x="0" y="23"/>
                  </a:lnTo>
                  <a:close/>
                  <a:moveTo>
                    <a:pt x="23" y="5"/>
                  </a:moveTo>
                  <a:cubicBezTo>
                    <a:pt x="20" y="5"/>
                    <a:pt x="20" y="6"/>
                    <a:pt x="20" y="7"/>
                  </a:cubicBezTo>
                  <a:cubicBezTo>
                    <a:pt x="20" y="9"/>
                    <a:pt x="20" y="10"/>
                    <a:pt x="23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50" y="10"/>
                    <a:pt x="51" y="9"/>
                    <a:pt x="51" y="7"/>
                  </a:cubicBezTo>
                  <a:cubicBezTo>
                    <a:pt x="51" y="6"/>
                    <a:pt x="50" y="5"/>
                    <a:pt x="48" y="5"/>
                  </a:cubicBezTo>
                  <a:lnTo>
                    <a:pt x="23" y="5"/>
                  </a:lnTo>
                  <a:close/>
                  <a:moveTo>
                    <a:pt x="46" y="0"/>
                  </a:moveTo>
                  <a:cubicBezTo>
                    <a:pt x="53" y="0"/>
                    <a:pt x="56" y="2"/>
                    <a:pt x="56" y="7"/>
                  </a:cubicBezTo>
                  <a:cubicBezTo>
                    <a:pt x="56" y="12"/>
                    <a:pt x="52" y="15"/>
                    <a:pt x="46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8" y="15"/>
                    <a:pt x="15" y="12"/>
                    <a:pt x="15" y="7"/>
                  </a:cubicBezTo>
                  <a:cubicBezTo>
                    <a:pt x="15" y="2"/>
                    <a:pt x="18" y="0"/>
                    <a:pt x="24" y="0"/>
                  </a:cubicBezTo>
                  <a:cubicBezTo>
                    <a:pt x="46" y="0"/>
                    <a:pt x="46" y="0"/>
                    <a:pt x="4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 noEditPoints="1"/>
            </p:cNvSpPr>
            <p:nvPr/>
          </p:nvSpPr>
          <p:spPr bwMode="auto">
            <a:xfrm>
              <a:off x="4410077" y="1941128"/>
              <a:ext cx="301625" cy="117872"/>
            </a:xfrm>
            <a:custGeom>
              <a:avLst/>
              <a:gdLst/>
              <a:ahLst/>
              <a:cxnLst>
                <a:cxn ang="0">
                  <a:pos x="21" y="14"/>
                </a:cxn>
                <a:cxn ang="0">
                  <a:pos x="20" y="56"/>
                </a:cxn>
                <a:cxn ang="0">
                  <a:pos x="13" y="33"/>
                </a:cxn>
                <a:cxn ang="0">
                  <a:pos x="6" y="56"/>
                </a:cxn>
                <a:cxn ang="0">
                  <a:pos x="5" y="14"/>
                </a:cxn>
                <a:cxn ang="0">
                  <a:pos x="8" y="41"/>
                </a:cxn>
                <a:cxn ang="0">
                  <a:pos x="11" y="14"/>
                </a:cxn>
                <a:cxn ang="0">
                  <a:pos x="17" y="33"/>
                </a:cxn>
                <a:cxn ang="0">
                  <a:pos x="18" y="33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1"/>
                </a:cxn>
                <a:cxn ang="0">
                  <a:pos x="36" y="51"/>
                </a:cxn>
                <a:cxn ang="0">
                  <a:pos x="38" y="40"/>
                </a:cxn>
                <a:cxn ang="0">
                  <a:pos x="43" y="46"/>
                </a:cxn>
                <a:cxn ang="0">
                  <a:pos x="28" y="46"/>
                </a:cxn>
                <a:cxn ang="0">
                  <a:pos x="36" y="14"/>
                </a:cxn>
                <a:cxn ang="0">
                  <a:pos x="43" y="35"/>
                </a:cxn>
                <a:cxn ang="0">
                  <a:pos x="33" y="48"/>
                </a:cxn>
                <a:cxn ang="0">
                  <a:pos x="51" y="0"/>
                </a:cxn>
                <a:cxn ang="0">
                  <a:pos x="47" y="56"/>
                </a:cxn>
                <a:cxn ang="0">
                  <a:pos x="65" y="37"/>
                </a:cxn>
                <a:cxn ang="0">
                  <a:pos x="61" y="39"/>
                </a:cxn>
                <a:cxn ang="0">
                  <a:pos x="60" y="48"/>
                </a:cxn>
                <a:cxn ang="0">
                  <a:pos x="65" y="48"/>
                </a:cxn>
                <a:cxn ang="0">
                  <a:pos x="55" y="43"/>
                </a:cxn>
                <a:cxn ang="0">
                  <a:pos x="62" y="33"/>
                </a:cxn>
                <a:cxn ang="0">
                  <a:pos x="65" y="22"/>
                </a:cxn>
                <a:cxn ang="0">
                  <a:pos x="60" y="22"/>
                </a:cxn>
                <a:cxn ang="0">
                  <a:pos x="56" y="30"/>
                </a:cxn>
                <a:cxn ang="0">
                  <a:pos x="63" y="14"/>
                </a:cxn>
                <a:cxn ang="0">
                  <a:pos x="70" y="56"/>
                </a:cxn>
                <a:cxn ang="0">
                  <a:pos x="65" y="53"/>
                </a:cxn>
                <a:cxn ang="0">
                  <a:pos x="55" y="46"/>
                </a:cxn>
                <a:cxn ang="0">
                  <a:pos x="73" y="0"/>
                </a:cxn>
                <a:cxn ang="0">
                  <a:pos x="78" y="56"/>
                </a:cxn>
                <a:cxn ang="0">
                  <a:pos x="73" y="0"/>
                </a:cxn>
                <a:cxn ang="0">
                  <a:pos x="82" y="7"/>
                </a:cxn>
                <a:cxn ang="0">
                  <a:pos x="87" y="0"/>
                </a:cxn>
                <a:cxn ang="0">
                  <a:pos x="87" y="56"/>
                </a:cxn>
                <a:cxn ang="0">
                  <a:pos x="82" y="14"/>
                </a:cxn>
                <a:cxn ang="0">
                  <a:pos x="87" y="56"/>
                </a:cxn>
                <a:cxn ang="0">
                  <a:pos x="98" y="19"/>
                </a:cxn>
                <a:cxn ang="0">
                  <a:pos x="96" y="56"/>
                </a:cxn>
                <a:cxn ang="0">
                  <a:pos x="91" y="14"/>
                </a:cxn>
                <a:cxn ang="0">
                  <a:pos x="96" y="16"/>
                </a:cxn>
                <a:cxn ang="0">
                  <a:pos x="106" y="24"/>
                </a:cxn>
                <a:cxn ang="0">
                  <a:pos x="101" y="56"/>
                </a:cxn>
              </a:cxnLst>
              <a:rect l="0" t="0" r="r" b="b"/>
              <a:pathLst>
                <a:path w="106" h="56">
                  <a:moveTo>
                    <a:pt x="18" y="33"/>
                  </a:moveTo>
                  <a:cubicBezTo>
                    <a:pt x="21" y="14"/>
                    <a:pt x="21" y="14"/>
                    <a:pt x="21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41"/>
                    <a:pt x="18" y="41"/>
                    <a:pt x="18" y="41"/>
                  </a:cubicBezTo>
                  <a:lnTo>
                    <a:pt x="18" y="33"/>
                  </a:ln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6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50"/>
                    <a:pt x="34" y="51"/>
                    <a:pt x="36" y="51"/>
                  </a:cubicBezTo>
                  <a:cubicBezTo>
                    <a:pt x="37" y="51"/>
                    <a:pt x="38" y="50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3" y="52"/>
                    <a:pt x="40" y="56"/>
                    <a:pt x="36" y="56"/>
                  </a:cubicBezTo>
                  <a:cubicBezTo>
                    <a:pt x="31" y="56"/>
                    <a:pt x="28" y="52"/>
                    <a:pt x="28" y="46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1" y="14"/>
                    <a:pt x="36" y="14"/>
                  </a:cubicBezTo>
                  <a:cubicBezTo>
                    <a:pt x="40" y="14"/>
                    <a:pt x="43" y="17"/>
                    <a:pt x="43" y="24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33" y="35"/>
                    <a:pt x="33" y="35"/>
                    <a:pt x="33" y="35"/>
                  </a:cubicBezTo>
                  <a:lnTo>
                    <a:pt x="33" y="48"/>
                  </a:lnTo>
                  <a:close/>
                  <a:moveTo>
                    <a:pt x="47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7" y="56"/>
                    <a:pt x="47" y="56"/>
                    <a:pt x="47" y="56"/>
                  </a:cubicBezTo>
                  <a:lnTo>
                    <a:pt x="47" y="0"/>
                  </a:lnTo>
                  <a:close/>
                  <a:moveTo>
                    <a:pt x="65" y="37"/>
                  </a:moveTo>
                  <a:cubicBezTo>
                    <a:pt x="64" y="37"/>
                    <a:pt x="64" y="38"/>
                    <a:pt x="63" y="38"/>
                  </a:cubicBezTo>
                  <a:cubicBezTo>
                    <a:pt x="63" y="38"/>
                    <a:pt x="62" y="39"/>
                    <a:pt x="61" y="39"/>
                  </a:cubicBezTo>
                  <a:cubicBezTo>
                    <a:pt x="60" y="40"/>
                    <a:pt x="60" y="41"/>
                    <a:pt x="60" y="43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50"/>
                    <a:pt x="61" y="51"/>
                    <a:pt x="62" y="51"/>
                  </a:cubicBezTo>
                  <a:cubicBezTo>
                    <a:pt x="64" y="51"/>
                    <a:pt x="65" y="50"/>
                    <a:pt x="65" y="48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55" y="43"/>
                  </a:moveTo>
                  <a:cubicBezTo>
                    <a:pt x="55" y="39"/>
                    <a:pt x="56" y="37"/>
                    <a:pt x="59" y="35"/>
                  </a:cubicBezTo>
                  <a:cubicBezTo>
                    <a:pt x="60" y="34"/>
                    <a:pt x="61" y="33"/>
                    <a:pt x="62" y="33"/>
                  </a:cubicBezTo>
                  <a:cubicBezTo>
                    <a:pt x="63" y="32"/>
                    <a:pt x="64" y="32"/>
                    <a:pt x="65" y="31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0"/>
                    <a:pt x="64" y="19"/>
                    <a:pt x="63" y="19"/>
                  </a:cubicBezTo>
                  <a:cubicBezTo>
                    <a:pt x="61" y="19"/>
                    <a:pt x="60" y="20"/>
                    <a:pt x="60" y="22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17"/>
                    <a:pt x="58" y="14"/>
                    <a:pt x="63" y="14"/>
                  </a:cubicBezTo>
                  <a:cubicBezTo>
                    <a:pt x="67" y="14"/>
                    <a:pt x="70" y="17"/>
                    <a:pt x="70" y="24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3"/>
                    <a:pt x="65" y="53"/>
                    <a:pt x="65" y="53"/>
                  </a:cubicBezTo>
                  <a:cubicBezTo>
                    <a:pt x="64" y="55"/>
                    <a:pt x="63" y="56"/>
                    <a:pt x="61" y="56"/>
                  </a:cubicBezTo>
                  <a:cubicBezTo>
                    <a:pt x="57" y="56"/>
                    <a:pt x="55" y="52"/>
                    <a:pt x="55" y="46"/>
                  </a:cubicBezTo>
                  <a:cubicBezTo>
                    <a:pt x="55" y="43"/>
                    <a:pt x="55" y="43"/>
                    <a:pt x="55" y="43"/>
                  </a:cubicBezTo>
                  <a:close/>
                  <a:moveTo>
                    <a:pt x="73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lnTo>
                    <a:pt x="73" y="0"/>
                  </a:lnTo>
                  <a:close/>
                  <a:moveTo>
                    <a:pt x="87" y="7"/>
                  </a:moveTo>
                  <a:cubicBezTo>
                    <a:pt x="82" y="7"/>
                    <a:pt x="82" y="7"/>
                    <a:pt x="82" y="7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7" y="0"/>
                    <a:pt x="87" y="0"/>
                    <a:pt x="87" y="0"/>
                  </a:cubicBezTo>
                  <a:lnTo>
                    <a:pt x="87" y="7"/>
                  </a:lnTo>
                  <a:close/>
                  <a:moveTo>
                    <a:pt x="87" y="56"/>
                  </a:moveTo>
                  <a:cubicBezTo>
                    <a:pt x="82" y="56"/>
                    <a:pt x="82" y="56"/>
                    <a:pt x="82" y="56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7" y="14"/>
                    <a:pt x="87" y="14"/>
                    <a:pt x="87" y="14"/>
                  </a:cubicBezTo>
                  <a:lnTo>
                    <a:pt x="87" y="56"/>
                  </a:lnTo>
                  <a:close/>
                  <a:moveTo>
                    <a:pt x="101" y="22"/>
                  </a:moveTo>
                  <a:cubicBezTo>
                    <a:pt x="101" y="20"/>
                    <a:pt x="100" y="19"/>
                    <a:pt x="98" y="19"/>
                  </a:cubicBezTo>
                  <a:cubicBezTo>
                    <a:pt x="97" y="19"/>
                    <a:pt x="96" y="20"/>
                    <a:pt x="96" y="22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7" y="15"/>
                    <a:pt x="98" y="14"/>
                    <a:pt x="100" y="14"/>
                  </a:cubicBezTo>
                  <a:cubicBezTo>
                    <a:pt x="104" y="14"/>
                    <a:pt x="106" y="17"/>
                    <a:pt x="106" y="24"/>
                  </a:cubicBezTo>
                  <a:cubicBezTo>
                    <a:pt x="106" y="56"/>
                    <a:pt x="106" y="56"/>
                    <a:pt x="106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22"/>
                    <a:pt x="101" y="22"/>
                    <a:pt x="101" y="2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/>
          </p:nvSpPr>
          <p:spPr bwMode="auto">
            <a:xfrm>
              <a:off x="2039938" y="3316299"/>
              <a:ext cx="255588" cy="139304"/>
            </a:xfrm>
            <a:custGeom>
              <a:avLst/>
              <a:gdLst/>
              <a:ahLst/>
              <a:cxnLst>
                <a:cxn ang="0">
                  <a:pos x="7" y="51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15" y="56"/>
                </a:cxn>
                <a:cxn ang="0">
                  <a:pos x="10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10" y="0"/>
                </a:cxn>
                <a:cxn ang="0">
                  <a:pos x="15" y="56"/>
                </a:cxn>
                <a:cxn ang="0">
                  <a:pos x="29" y="31"/>
                </a:cxn>
                <a:cxn ang="0">
                  <a:pos x="26" y="20"/>
                </a:cxn>
                <a:cxn ang="0">
                  <a:pos x="24" y="31"/>
                </a:cxn>
                <a:cxn ang="0">
                  <a:pos x="26" y="51"/>
                </a:cxn>
                <a:cxn ang="0">
                  <a:pos x="29" y="40"/>
                </a:cxn>
                <a:cxn ang="0">
                  <a:pos x="33" y="46"/>
                </a:cxn>
                <a:cxn ang="0">
                  <a:pos x="19" y="46"/>
                </a:cxn>
                <a:cxn ang="0">
                  <a:pos x="26" y="15"/>
                </a:cxn>
                <a:cxn ang="0">
                  <a:pos x="33" y="36"/>
                </a:cxn>
                <a:cxn ang="0">
                  <a:pos x="24" y="48"/>
                </a:cxn>
                <a:cxn ang="0">
                  <a:pos x="24" y="12"/>
                </a:cxn>
                <a:cxn ang="0">
                  <a:pos x="24" y="9"/>
                </a:cxn>
                <a:cxn ang="0">
                  <a:pos x="28" y="9"/>
                </a:cxn>
                <a:cxn ang="0">
                  <a:pos x="28" y="12"/>
                </a:cxn>
                <a:cxn ang="0">
                  <a:pos x="43" y="0"/>
                </a:cxn>
                <a:cxn ang="0">
                  <a:pos x="44" y="30"/>
                </a:cxn>
                <a:cxn ang="0">
                  <a:pos x="54" y="15"/>
                </a:cxn>
                <a:cxn ang="0">
                  <a:pos x="54" y="56"/>
                </a:cxn>
                <a:cxn ang="0">
                  <a:pos x="44" y="41"/>
                </a:cxn>
                <a:cxn ang="0">
                  <a:pos x="43" y="56"/>
                </a:cxn>
                <a:cxn ang="0">
                  <a:pos x="38" y="0"/>
                </a:cxn>
                <a:cxn ang="0">
                  <a:pos x="64" y="51"/>
                </a:cxn>
                <a:cxn ang="0">
                  <a:pos x="66" y="15"/>
                </a:cxn>
                <a:cxn ang="0">
                  <a:pos x="71" y="56"/>
                </a:cxn>
                <a:cxn ang="0">
                  <a:pos x="66" y="54"/>
                </a:cxn>
                <a:cxn ang="0">
                  <a:pos x="56" y="46"/>
                </a:cxn>
                <a:cxn ang="0">
                  <a:pos x="61" y="15"/>
                </a:cxn>
                <a:cxn ang="0">
                  <a:pos x="80" y="8"/>
                </a:cxn>
                <a:cxn ang="0">
                  <a:pos x="76" y="0"/>
                </a:cxn>
                <a:cxn ang="0">
                  <a:pos x="80" y="8"/>
                </a:cxn>
                <a:cxn ang="0">
                  <a:pos x="76" y="57"/>
                </a:cxn>
                <a:cxn ang="0">
                  <a:pos x="80" y="15"/>
                </a:cxn>
                <a:cxn ang="0">
                  <a:pos x="72" y="66"/>
                </a:cxn>
                <a:cxn ang="0">
                  <a:pos x="90" y="8"/>
                </a:cxn>
                <a:cxn ang="0">
                  <a:pos x="85" y="0"/>
                </a:cxn>
                <a:cxn ang="0">
                  <a:pos x="90" y="8"/>
                </a:cxn>
                <a:cxn ang="0">
                  <a:pos x="85" y="56"/>
                </a:cxn>
                <a:cxn ang="0">
                  <a:pos x="90" y="15"/>
                </a:cxn>
              </a:cxnLst>
              <a:rect l="0" t="0" r="r" b="b"/>
              <a:pathLst>
                <a:path w="90" h="66">
                  <a:moveTo>
                    <a:pt x="5" y="48"/>
                  </a:move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9" y="20"/>
                    <a:pt x="7" y="20"/>
                  </a:cubicBezTo>
                  <a:cubicBezTo>
                    <a:pt x="6" y="20"/>
                    <a:pt x="5" y="21"/>
                    <a:pt x="5" y="22"/>
                  </a:cubicBezTo>
                  <a:lnTo>
                    <a:pt x="5" y="48"/>
                  </a:lnTo>
                  <a:close/>
                  <a:moveTo>
                    <a:pt x="15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8" y="55"/>
                    <a:pt x="7" y="56"/>
                    <a:pt x="5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2" y="15"/>
                    <a:pt x="5" y="15"/>
                  </a:cubicBezTo>
                  <a:cubicBezTo>
                    <a:pt x="7" y="15"/>
                    <a:pt x="9" y="15"/>
                    <a:pt x="10" y="1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56"/>
                  </a:lnTo>
                  <a:close/>
                  <a:moveTo>
                    <a:pt x="24" y="31"/>
                  </a:moveTo>
                  <a:cubicBezTo>
                    <a:pt x="29" y="31"/>
                    <a:pt x="29" y="31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1"/>
                    <a:pt x="28" y="20"/>
                    <a:pt x="26" y="20"/>
                  </a:cubicBezTo>
                  <a:cubicBezTo>
                    <a:pt x="24" y="20"/>
                    <a:pt x="24" y="21"/>
                    <a:pt x="24" y="22"/>
                  </a:cubicBezTo>
                  <a:lnTo>
                    <a:pt x="24" y="31"/>
                  </a:lnTo>
                  <a:close/>
                  <a:moveTo>
                    <a:pt x="24" y="48"/>
                  </a:move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9" y="50"/>
                    <a:pt x="29" y="48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53"/>
                    <a:pt x="31" y="56"/>
                    <a:pt x="26" y="56"/>
                  </a:cubicBezTo>
                  <a:cubicBezTo>
                    <a:pt x="21" y="56"/>
                    <a:pt x="19" y="53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18"/>
                    <a:pt x="21" y="15"/>
                    <a:pt x="26" y="15"/>
                  </a:cubicBezTo>
                  <a:cubicBezTo>
                    <a:pt x="31" y="15"/>
                    <a:pt x="33" y="18"/>
                    <a:pt x="33" y="25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24" y="36"/>
                    <a:pt x="24" y="36"/>
                    <a:pt x="24" y="36"/>
                  </a:cubicBezTo>
                  <a:lnTo>
                    <a:pt x="24" y="48"/>
                  </a:lnTo>
                  <a:close/>
                  <a:moveTo>
                    <a:pt x="28" y="12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3" y="9"/>
                    <a:pt x="33" y="9"/>
                    <a:pt x="33" y="9"/>
                  </a:cubicBezTo>
                  <a:lnTo>
                    <a:pt x="28" y="12"/>
                  </a:lnTo>
                  <a:close/>
                  <a:moveTo>
                    <a:pt x="38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38" y="56"/>
                    <a:pt x="38" y="56"/>
                    <a:pt x="38" y="56"/>
                  </a:cubicBezTo>
                  <a:lnTo>
                    <a:pt x="38" y="0"/>
                  </a:lnTo>
                  <a:close/>
                  <a:moveTo>
                    <a:pt x="61" y="48"/>
                  </a:moveTo>
                  <a:cubicBezTo>
                    <a:pt x="61" y="50"/>
                    <a:pt x="62" y="51"/>
                    <a:pt x="64" y="51"/>
                  </a:cubicBezTo>
                  <a:cubicBezTo>
                    <a:pt x="65" y="51"/>
                    <a:pt x="66" y="50"/>
                    <a:pt x="66" y="48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5" y="56"/>
                    <a:pt x="64" y="56"/>
                    <a:pt x="62" y="56"/>
                  </a:cubicBezTo>
                  <a:cubicBezTo>
                    <a:pt x="58" y="56"/>
                    <a:pt x="56" y="53"/>
                    <a:pt x="56" y="4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48"/>
                    <a:pt x="61" y="48"/>
                    <a:pt x="61" y="48"/>
                  </a:cubicBezTo>
                  <a:close/>
                  <a:moveTo>
                    <a:pt x="80" y="8"/>
                  </a:moveTo>
                  <a:cubicBezTo>
                    <a:pt x="76" y="8"/>
                    <a:pt x="76" y="8"/>
                    <a:pt x="76" y="8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0" y="0"/>
                    <a:pt x="80" y="0"/>
                    <a:pt x="80" y="0"/>
                  </a:cubicBezTo>
                  <a:lnTo>
                    <a:pt x="80" y="8"/>
                  </a:lnTo>
                  <a:close/>
                  <a:moveTo>
                    <a:pt x="72" y="61"/>
                  </a:moveTo>
                  <a:cubicBezTo>
                    <a:pt x="74" y="61"/>
                    <a:pt x="76" y="60"/>
                    <a:pt x="76" y="57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62"/>
                    <a:pt x="78" y="66"/>
                    <a:pt x="72" y="66"/>
                  </a:cubicBezTo>
                  <a:lnTo>
                    <a:pt x="72" y="61"/>
                  </a:lnTo>
                  <a:close/>
                  <a:moveTo>
                    <a:pt x="90" y="8"/>
                  </a:moveTo>
                  <a:cubicBezTo>
                    <a:pt x="85" y="8"/>
                    <a:pt x="85" y="8"/>
                    <a:pt x="85" y="8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0" y="0"/>
                    <a:pt x="90" y="0"/>
                    <a:pt x="90" y="0"/>
                  </a:cubicBezTo>
                  <a:lnTo>
                    <a:pt x="90" y="8"/>
                  </a:lnTo>
                  <a:close/>
                  <a:moveTo>
                    <a:pt x="90" y="56"/>
                  </a:moveTo>
                  <a:cubicBezTo>
                    <a:pt x="85" y="56"/>
                    <a:pt x="85" y="56"/>
                    <a:pt x="85" y="56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56"/>
                    <a:pt x="90" y="56"/>
                    <a:pt x="90" y="5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 noEditPoints="1"/>
            </p:cNvSpPr>
            <p:nvPr/>
          </p:nvSpPr>
          <p:spPr bwMode="auto">
            <a:xfrm>
              <a:off x="4708526" y="3734208"/>
              <a:ext cx="298450" cy="119063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8" y="20"/>
                </a:cxn>
                <a:cxn ang="0">
                  <a:pos x="5" y="56"/>
                </a:cxn>
                <a:cxn ang="0">
                  <a:pos x="0" y="15"/>
                </a:cxn>
                <a:cxn ang="0">
                  <a:pos x="5" y="16"/>
                </a:cxn>
                <a:cxn ang="0">
                  <a:pos x="20" y="38"/>
                </a:cxn>
                <a:cxn ang="0">
                  <a:pos x="17" y="43"/>
                </a:cxn>
                <a:cxn ang="0">
                  <a:pos x="19" y="51"/>
                </a:cxn>
                <a:cxn ang="0">
                  <a:pos x="22" y="37"/>
                </a:cxn>
                <a:cxn ang="0">
                  <a:pos x="17" y="36"/>
                </a:cxn>
                <a:cxn ang="0">
                  <a:pos x="22" y="32"/>
                </a:cxn>
                <a:cxn ang="0">
                  <a:pos x="20" y="20"/>
                </a:cxn>
                <a:cxn ang="0">
                  <a:pos x="18" y="30"/>
                </a:cxn>
                <a:cxn ang="0">
                  <a:pos x="13" y="24"/>
                </a:cxn>
                <a:cxn ang="0">
                  <a:pos x="27" y="24"/>
                </a:cxn>
                <a:cxn ang="0">
                  <a:pos x="22" y="56"/>
                </a:cxn>
                <a:cxn ang="0">
                  <a:pos x="18" y="56"/>
                </a:cxn>
                <a:cxn ang="0">
                  <a:pos x="13" y="43"/>
                </a:cxn>
                <a:cxn ang="0">
                  <a:pos x="38" y="20"/>
                </a:cxn>
                <a:cxn ang="0">
                  <a:pos x="36" y="56"/>
                </a:cxn>
                <a:cxn ang="0">
                  <a:pos x="31" y="0"/>
                </a:cxn>
                <a:cxn ang="0">
                  <a:pos x="36" y="16"/>
                </a:cxn>
                <a:cxn ang="0">
                  <a:pos x="46" y="24"/>
                </a:cxn>
                <a:cxn ang="0">
                  <a:pos x="41" y="56"/>
                </a:cxn>
                <a:cxn ang="0">
                  <a:pos x="69" y="23"/>
                </a:cxn>
                <a:cxn ang="0">
                  <a:pos x="65" y="22"/>
                </a:cxn>
                <a:cxn ang="0">
                  <a:pos x="60" y="56"/>
                </a:cxn>
                <a:cxn ang="0">
                  <a:pos x="58" y="20"/>
                </a:cxn>
                <a:cxn ang="0">
                  <a:pos x="55" y="56"/>
                </a:cxn>
                <a:cxn ang="0">
                  <a:pos x="50" y="15"/>
                </a:cxn>
                <a:cxn ang="0">
                  <a:pos x="55" y="16"/>
                </a:cxn>
                <a:cxn ang="0">
                  <a:pos x="64" y="17"/>
                </a:cxn>
                <a:cxn ang="0">
                  <a:pos x="74" y="24"/>
                </a:cxn>
                <a:cxn ang="0">
                  <a:pos x="69" y="56"/>
                </a:cxn>
                <a:cxn ang="0">
                  <a:pos x="83" y="31"/>
                </a:cxn>
                <a:cxn ang="0">
                  <a:pos x="88" y="23"/>
                </a:cxn>
                <a:cxn ang="0">
                  <a:pos x="83" y="23"/>
                </a:cxn>
                <a:cxn ang="0">
                  <a:pos x="83" y="48"/>
                </a:cxn>
                <a:cxn ang="0">
                  <a:pos x="88" y="48"/>
                </a:cxn>
                <a:cxn ang="0">
                  <a:pos x="94" y="40"/>
                </a:cxn>
                <a:cxn ang="0">
                  <a:pos x="86" y="56"/>
                </a:cxn>
                <a:cxn ang="0">
                  <a:pos x="79" y="24"/>
                </a:cxn>
                <a:cxn ang="0">
                  <a:pos x="94" y="24"/>
                </a:cxn>
                <a:cxn ang="0">
                  <a:pos x="83" y="36"/>
                </a:cxn>
                <a:cxn ang="0">
                  <a:pos x="96" y="15"/>
                </a:cxn>
                <a:cxn ang="0">
                  <a:pos x="98" y="0"/>
                </a:cxn>
                <a:cxn ang="0">
                  <a:pos x="103" y="15"/>
                </a:cxn>
                <a:cxn ang="0">
                  <a:pos x="105" y="20"/>
                </a:cxn>
                <a:cxn ang="0">
                  <a:pos x="103" y="48"/>
                </a:cxn>
                <a:cxn ang="0">
                  <a:pos x="105" y="56"/>
                </a:cxn>
                <a:cxn ang="0">
                  <a:pos x="98" y="20"/>
                </a:cxn>
                <a:cxn ang="0">
                  <a:pos x="96" y="15"/>
                </a:cxn>
              </a:cxnLst>
              <a:rect l="0" t="0" r="r" b="b"/>
              <a:pathLst>
                <a:path w="105" h="56">
                  <a:moveTo>
                    <a:pt x="5" y="16"/>
                  </a:moveTo>
                  <a:cubicBezTo>
                    <a:pt x="6" y="15"/>
                    <a:pt x="7" y="15"/>
                    <a:pt x="9" y="15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0"/>
                    <a:pt x="9" y="20"/>
                    <a:pt x="8" y="20"/>
                  </a:cubicBezTo>
                  <a:cubicBezTo>
                    <a:pt x="6" y="20"/>
                    <a:pt x="5" y="20"/>
                    <a:pt x="5" y="23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lose/>
                  <a:moveTo>
                    <a:pt x="22" y="37"/>
                  </a:moveTo>
                  <a:cubicBezTo>
                    <a:pt x="22" y="38"/>
                    <a:pt x="21" y="38"/>
                    <a:pt x="20" y="38"/>
                  </a:cubicBezTo>
                  <a:cubicBezTo>
                    <a:pt x="20" y="39"/>
                    <a:pt x="19" y="39"/>
                    <a:pt x="19" y="40"/>
                  </a:cubicBezTo>
                  <a:cubicBezTo>
                    <a:pt x="18" y="40"/>
                    <a:pt x="17" y="42"/>
                    <a:pt x="17" y="4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50"/>
                    <a:pt x="18" y="51"/>
                    <a:pt x="19" y="51"/>
                  </a:cubicBezTo>
                  <a:cubicBezTo>
                    <a:pt x="21" y="51"/>
                    <a:pt x="22" y="50"/>
                    <a:pt x="22" y="48"/>
                  </a:cubicBezTo>
                  <a:lnTo>
                    <a:pt x="22" y="37"/>
                  </a:lnTo>
                  <a:close/>
                  <a:moveTo>
                    <a:pt x="13" y="43"/>
                  </a:moveTo>
                  <a:cubicBezTo>
                    <a:pt x="13" y="40"/>
                    <a:pt x="14" y="37"/>
                    <a:pt x="17" y="36"/>
                  </a:cubicBezTo>
                  <a:cubicBezTo>
                    <a:pt x="18" y="34"/>
                    <a:pt x="19" y="34"/>
                    <a:pt x="19" y="33"/>
                  </a:cubicBezTo>
                  <a:cubicBezTo>
                    <a:pt x="20" y="33"/>
                    <a:pt x="22" y="32"/>
                    <a:pt x="22" y="3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0"/>
                    <a:pt x="22" y="20"/>
                    <a:pt x="20" y="20"/>
                  </a:cubicBezTo>
                  <a:cubicBezTo>
                    <a:pt x="19" y="20"/>
                    <a:pt x="18" y="20"/>
                    <a:pt x="18" y="23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8"/>
                    <a:pt x="15" y="15"/>
                    <a:pt x="20" y="15"/>
                  </a:cubicBezTo>
                  <a:cubicBezTo>
                    <a:pt x="24" y="15"/>
                    <a:pt x="27" y="18"/>
                    <a:pt x="27" y="24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5"/>
                    <a:pt x="20" y="56"/>
                    <a:pt x="18" y="56"/>
                  </a:cubicBezTo>
                  <a:cubicBezTo>
                    <a:pt x="14" y="56"/>
                    <a:pt x="13" y="52"/>
                    <a:pt x="13" y="46"/>
                  </a:cubicBezTo>
                  <a:lnTo>
                    <a:pt x="13" y="43"/>
                  </a:lnTo>
                  <a:close/>
                  <a:moveTo>
                    <a:pt x="41" y="23"/>
                  </a:moveTo>
                  <a:cubicBezTo>
                    <a:pt x="41" y="20"/>
                    <a:pt x="40" y="20"/>
                    <a:pt x="38" y="20"/>
                  </a:cubicBezTo>
                  <a:cubicBezTo>
                    <a:pt x="37" y="20"/>
                    <a:pt x="36" y="20"/>
                    <a:pt x="36" y="23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7" y="15"/>
                    <a:pt x="38" y="15"/>
                    <a:pt x="40" y="15"/>
                  </a:cubicBezTo>
                  <a:cubicBezTo>
                    <a:pt x="44" y="15"/>
                    <a:pt x="46" y="18"/>
                    <a:pt x="46" y="24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23"/>
                    <a:pt x="41" y="23"/>
                    <a:pt x="41" y="23"/>
                  </a:cubicBezTo>
                  <a:close/>
                  <a:moveTo>
                    <a:pt x="69" y="23"/>
                  </a:moveTo>
                  <a:cubicBezTo>
                    <a:pt x="69" y="20"/>
                    <a:pt x="69" y="20"/>
                    <a:pt x="67" y="20"/>
                  </a:cubicBezTo>
                  <a:cubicBezTo>
                    <a:pt x="65" y="20"/>
                    <a:pt x="65" y="20"/>
                    <a:pt x="65" y="22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0"/>
                    <a:pt x="59" y="20"/>
                    <a:pt x="58" y="20"/>
                  </a:cubicBezTo>
                  <a:cubicBezTo>
                    <a:pt x="56" y="20"/>
                    <a:pt x="55" y="20"/>
                    <a:pt x="55" y="23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6" y="15"/>
                    <a:pt x="57" y="15"/>
                    <a:pt x="59" y="15"/>
                  </a:cubicBezTo>
                  <a:cubicBezTo>
                    <a:pt x="61" y="15"/>
                    <a:pt x="63" y="15"/>
                    <a:pt x="64" y="17"/>
                  </a:cubicBezTo>
                  <a:cubicBezTo>
                    <a:pt x="65" y="15"/>
                    <a:pt x="66" y="15"/>
                    <a:pt x="69" y="15"/>
                  </a:cubicBezTo>
                  <a:cubicBezTo>
                    <a:pt x="73" y="15"/>
                    <a:pt x="74" y="18"/>
                    <a:pt x="74" y="24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23"/>
                    <a:pt x="69" y="23"/>
                    <a:pt x="69" y="23"/>
                  </a:cubicBezTo>
                  <a:close/>
                  <a:moveTo>
                    <a:pt x="83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0"/>
                    <a:pt x="88" y="20"/>
                    <a:pt x="86" y="20"/>
                  </a:cubicBezTo>
                  <a:cubicBezTo>
                    <a:pt x="85" y="20"/>
                    <a:pt x="83" y="20"/>
                    <a:pt x="83" y="23"/>
                  </a:cubicBezTo>
                  <a:lnTo>
                    <a:pt x="83" y="31"/>
                  </a:lnTo>
                  <a:close/>
                  <a:moveTo>
                    <a:pt x="83" y="48"/>
                  </a:moveTo>
                  <a:cubicBezTo>
                    <a:pt x="83" y="50"/>
                    <a:pt x="85" y="51"/>
                    <a:pt x="86" y="51"/>
                  </a:cubicBezTo>
                  <a:cubicBezTo>
                    <a:pt x="88" y="51"/>
                    <a:pt x="88" y="50"/>
                    <a:pt x="88" y="48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52"/>
                    <a:pt x="91" y="56"/>
                    <a:pt x="86" y="56"/>
                  </a:cubicBezTo>
                  <a:cubicBezTo>
                    <a:pt x="81" y="56"/>
                    <a:pt x="79" y="52"/>
                    <a:pt x="79" y="46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18"/>
                    <a:pt x="81" y="15"/>
                    <a:pt x="86" y="15"/>
                  </a:cubicBezTo>
                  <a:cubicBezTo>
                    <a:pt x="91" y="15"/>
                    <a:pt x="94" y="18"/>
                    <a:pt x="94" y="24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48"/>
                    <a:pt x="83" y="48"/>
                    <a:pt x="83" y="48"/>
                  </a:cubicBezTo>
                  <a:close/>
                  <a:moveTo>
                    <a:pt x="96" y="15"/>
                  </a:moveTo>
                  <a:cubicBezTo>
                    <a:pt x="98" y="15"/>
                    <a:pt x="98" y="15"/>
                    <a:pt x="98" y="15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0"/>
                    <a:pt x="104" y="51"/>
                    <a:pt x="105" y="51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0" y="56"/>
                    <a:pt x="98" y="52"/>
                    <a:pt x="98" y="46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15"/>
                    <a:pt x="96" y="15"/>
                    <a:pt x="96" y="1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/>
          </p:nvSpPr>
          <p:spPr bwMode="auto">
            <a:xfrm>
              <a:off x="3308352" y="3804456"/>
              <a:ext cx="155575" cy="220266"/>
            </a:xfrm>
            <a:custGeom>
              <a:avLst/>
              <a:gdLst/>
              <a:ahLst/>
              <a:cxnLst>
                <a:cxn ang="0">
                  <a:pos x="14" y="95"/>
                </a:cxn>
                <a:cxn ang="0">
                  <a:pos x="19" y="97"/>
                </a:cxn>
                <a:cxn ang="0">
                  <a:pos x="55" y="99"/>
                </a:cxn>
                <a:cxn ang="0">
                  <a:pos x="14" y="104"/>
                </a:cxn>
                <a:cxn ang="0">
                  <a:pos x="16" y="99"/>
                </a:cxn>
                <a:cxn ang="0">
                  <a:pos x="37" y="84"/>
                </a:cxn>
                <a:cxn ang="0">
                  <a:pos x="43" y="87"/>
                </a:cxn>
                <a:cxn ang="0">
                  <a:pos x="50" y="85"/>
                </a:cxn>
                <a:cxn ang="0">
                  <a:pos x="37" y="82"/>
                </a:cxn>
                <a:cxn ang="0">
                  <a:pos x="35" y="89"/>
                </a:cxn>
                <a:cxn ang="0">
                  <a:pos x="31" y="82"/>
                </a:cxn>
                <a:cxn ang="0">
                  <a:pos x="19" y="85"/>
                </a:cxn>
                <a:cxn ang="0">
                  <a:pos x="30" y="87"/>
                </a:cxn>
                <a:cxn ang="0">
                  <a:pos x="24" y="91"/>
                </a:cxn>
                <a:cxn ang="0">
                  <a:pos x="24" y="78"/>
                </a:cxn>
                <a:cxn ang="0">
                  <a:pos x="55" y="82"/>
                </a:cxn>
                <a:cxn ang="0">
                  <a:pos x="55" y="86"/>
                </a:cxn>
                <a:cxn ang="0">
                  <a:pos x="42" y="92"/>
                </a:cxn>
                <a:cxn ang="0">
                  <a:pos x="19" y="66"/>
                </a:cxn>
                <a:cxn ang="0">
                  <a:pos x="55" y="68"/>
                </a:cxn>
                <a:cxn ang="0">
                  <a:pos x="0" y="73"/>
                </a:cxn>
                <a:cxn ang="0">
                  <a:pos x="16" y="68"/>
                </a:cxn>
                <a:cxn ang="0">
                  <a:pos x="24" y="59"/>
                </a:cxn>
                <a:cxn ang="0">
                  <a:pos x="55" y="64"/>
                </a:cxn>
                <a:cxn ang="0">
                  <a:pos x="22" y="35"/>
                </a:cxn>
                <a:cxn ang="0">
                  <a:pos x="22" y="40"/>
                </a:cxn>
                <a:cxn ang="0">
                  <a:pos x="55" y="45"/>
                </a:cxn>
                <a:cxn ang="0">
                  <a:pos x="19" y="47"/>
                </a:cxn>
                <a:cxn ang="0">
                  <a:pos x="55" y="50"/>
                </a:cxn>
                <a:cxn ang="0">
                  <a:pos x="14" y="54"/>
                </a:cxn>
                <a:cxn ang="0">
                  <a:pos x="16" y="50"/>
                </a:cxn>
                <a:cxn ang="0">
                  <a:pos x="17" y="41"/>
                </a:cxn>
                <a:cxn ang="0">
                  <a:pos x="24" y="30"/>
                </a:cxn>
                <a:cxn ang="0">
                  <a:pos x="55" y="35"/>
                </a:cxn>
                <a:cxn ang="0">
                  <a:pos x="37" y="16"/>
                </a:cxn>
                <a:cxn ang="0">
                  <a:pos x="39" y="19"/>
                </a:cxn>
                <a:cxn ang="0">
                  <a:pos x="48" y="21"/>
                </a:cxn>
                <a:cxn ang="0">
                  <a:pos x="48" y="16"/>
                </a:cxn>
                <a:cxn ang="0">
                  <a:pos x="42" y="26"/>
                </a:cxn>
                <a:cxn ang="0">
                  <a:pos x="32" y="19"/>
                </a:cxn>
                <a:cxn ang="0">
                  <a:pos x="22" y="16"/>
                </a:cxn>
                <a:cxn ang="0">
                  <a:pos x="22" y="21"/>
                </a:cxn>
                <a:cxn ang="0">
                  <a:pos x="30" y="25"/>
                </a:cxn>
                <a:cxn ang="0">
                  <a:pos x="14" y="18"/>
                </a:cxn>
                <a:cxn ang="0">
                  <a:pos x="55" y="12"/>
                </a:cxn>
                <a:cxn ang="0">
                  <a:pos x="53" y="16"/>
                </a:cxn>
                <a:cxn ang="0">
                  <a:pos x="45" y="26"/>
                </a:cxn>
                <a:cxn ang="0">
                  <a:pos x="14" y="9"/>
                </a:cxn>
                <a:cxn ang="0">
                  <a:pos x="0" y="7"/>
                </a:cxn>
                <a:cxn ang="0">
                  <a:pos x="14" y="2"/>
                </a:cxn>
                <a:cxn ang="0">
                  <a:pos x="19" y="0"/>
                </a:cxn>
                <a:cxn ang="0">
                  <a:pos x="48" y="2"/>
                </a:cxn>
                <a:cxn ang="0">
                  <a:pos x="55" y="0"/>
                </a:cxn>
                <a:cxn ang="0">
                  <a:pos x="19" y="7"/>
                </a:cxn>
                <a:cxn ang="0">
                  <a:pos x="14" y="9"/>
                </a:cxn>
              </a:cxnLst>
              <a:rect l="0" t="0" r="r" b="b"/>
              <a:pathLst>
                <a:path w="55" h="104">
                  <a:moveTo>
                    <a:pt x="16" y="99"/>
                  </a:moveTo>
                  <a:cubicBezTo>
                    <a:pt x="14" y="99"/>
                    <a:pt x="14" y="98"/>
                    <a:pt x="14" y="95"/>
                  </a:cubicBezTo>
                  <a:cubicBezTo>
                    <a:pt x="20" y="95"/>
                    <a:pt x="20" y="95"/>
                    <a:pt x="20" y="95"/>
                  </a:cubicBezTo>
                  <a:cubicBezTo>
                    <a:pt x="19" y="96"/>
                    <a:pt x="19" y="96"/>
                    <a:pt x="19" y="97"/>
                  </a:cubicBezTo>
                  <a:cubicBezTo>
                    <a:pt x="19" y="99"/>
                    <a:pt x="20" y="99"/>
                    <a:pt x="22" y="99"/>
                  </a:cubicBezTo>
                  <a:cubicBezTo>
                    <a:pt x="55" y="99"/>
                    <a:pt x="55" y="99"/>
                    <a:pt x="55" y="99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6" y="99"/>
                    <a:pt x="16" y="99"/>
                    <a:pt x="16" y="99"/>
                  </a:cubicBezTo>
                  <a:close/>
                  <a:moveTo>
                    <a:pt x="37" y="82"/>
                  </a:moveTo>
                  <a:cubicBezTo>
                    <a:pt x="37" y="83"/>
                    <a:pt x="37" y="83"/>
                    <a:pt x="37" y="84"/>
                  </a:cubicBezTo>
                  <a:cubicBezTo>
                    <a:pt x="38" y="85"/>
                    <a:pt x="39" y="85"/>
                    <a:pt x="39" y="86"/>
                  </a:cubicBezTo>
                  <a:cubicBezTo>
                    <a:pt x="40" y="87"/>
                    <a:pt x="41" y="87"/>
                    <a:pt x="43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9" y="87"/>
                    <a:pt x="50" y="86"/>
                    <a:pt x="50" y="85"/>
                  </a:cubicBezTo>
                  <a:cubicBezTo>
                    <a:pt x="50" y="83"/>
                    <a:pt x="49" y="82"/>
                    <a:pt x="48" y="82"/>
                  </a:cubicBezTo>
                  <a:cubicBezTo>
                    <a:pt x="37" y="82"/>
                    <a:pt x="37" y="82"/>
                    <a:pt x="37" y="82"/>
                  </a:cubicBezTo>
                  <a:close/>
                  <a:moveTo>
                    <a:pt x="42" y="92"/>
                  </a:moveTo>
                  <a:cubicBezTo>
                    <a:pt x="39" y="92"/>
                    <a:pt x="36" y="91"/>
                    <a:pt x="35" y="89"/>
                  </a:cubicBezTo>
                  <a:cubicBezTo>
                    <a:pt x="34" y="87"/>
                    <a:pt x="33" y="86"/>
                    <a:pt x="32" y="85"/>
                  </a:cubicBezTo>
                  <a:cubicBezTo>
                    <a:pt x="32" y="84"/>
                    <a:pt x="31" y="83"/>
                    <a:pt x="31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0" y="82"/>
                    <a:pt x="19" y="83"/>
                    <a:pt x="19" y="85"/>
                  </a:cubicBezTo>
                  <a:cubicBezTo>
                    <a:pt x="19" y="86"/>
                    <a:pt x="20" y="87"/>
                    <a:pt x="22" y="87"/>
                  </a:cubicBezTo>
                  <a:cubicBezTo>
                    <a:pt x="30" y="87"/>
                    <a:pt x="30" y="87"/>
                    <a:pt x="30" y="87"/>
                  </a:cubicBezTo>
                  <a:cubicBezTo>
                    <a:pt x="30" y="91"/>
                    <a:pt x="30" y="91"/>
                    <a:pt x="30" y="91"/>
                  </a:cubicBezTo>
                  <a:cubicBezTo>
                    <a:pt x="24" y="91"/>
                    <a:pt x="24" y="91"/>
                    <a:pt x="24" y="91"/>
                  </a:cubicBezTo>
                  <a:cubicBezTo>
                    <a:pt x="17" y="91"/>
                    <a:pt x="14" y="89"/>
                    <a:pt x="14" y="85"/>
                  </a:cubicBezTo>
                  <a:cubicBezTo>
                    <a:pt x="14" y="80"/>
                    <a:pt x="17" y="78"/>
                    <a:pt x="24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5" y="85"/>
                    <a:pt x="55" y="86"/>
                  </a:cubicBezTo>
                  <a:cubicBezTo>
                    <a:pt x="55" y="90"/>
                    <a:pt x="52" y="92"/>
                    <a:pt x="45" y="92"/>
                  </a:cubicBezTo>
                  <a:cubicBezTo>
                    <a:pt x="42" y="92"/>
                    <a:pt x="42" y="92"/>
                    <a:pt x="42" y="92"/>
                  </a:cubicBezTo>
                  <a:close/>
                  <a:moveTo>
                    <a:pt x="22" y="64"/>
                  </a:moveTo>
                  <a:cubicBezTo>
                    <a:pt x="20" y="64"/>
                    <a:pt x="19" y="64"/>
                    <a:pt x="19" y="66"/>
                  </a:cubicBezTo>
                  <a:cubicBezTo>
                    <a:pt x="19" y="68"/>
                    <a:pt x="20" y="68"/>
                    <a:pt x="22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4" y="68"/>
                    <a:pt x="14" y="67"/>
                    <a:pt x="14" y="64"/>
                  </a:cubicBezTo>
                  <a:cubicBezTo>
                    <a:pt x="14" y="60"/>
                    <a:pt x="17" y="59"/>
                    <a:pt x="24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22" y="64"/>
                    <a:pt x="22" y="64"/>
                    <a:pt x="22" y="64"/>
                  </a:cubicBezTo>
                  <a:close/>
                  <a:moveTo>
                    <a:pt x="22" y="35"/>
                  </a:moveTo>
                  <a:cubicBezTo>
                    <a:pt x="20" y="35"/>
                    <a:pt x="19" y="36"/>
                    <a:pt x="19" y="37"/>
                  </a:cubicBezTo>
                  <a:cubicBezTo>
                    <a:pt x="19" y="39"/>
                    <a:pt x="20" y="40"/>
                    <a:pt x="22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0" y="45"/>
                    <a:pt x="19" y="45"/>
                    <a:pt x="19" y="47"/>
                  </a:cubicBezTo>
                  <a:cubicBezTo>
                    <a:pt x="19" y="49"/>
                    <a:pt x="20" y="50"/>
                    <a:pt x="22" y="50"/>
                  </a:cubicBezTo>
                  <a:cubicBezTo>
                    <a:pt x="55" y="50"/>
                    <a:pt x="55" y="50"/>
                    <a:pt x="55" y="50"/>
                  </a:cubicBezTo>
                  <a:cubicBezTo>
                    <a:pt x="55" y="54"/>
                    <a:pt x="55" y="54"/>
                    <a:pt x="55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49"/>
                    <a:pt x="14" y="48"/>
                    <a:pt x="14" y="45"/>
                  </a:cubicBezTo>
                  <a:cubicBezTo>
                    <a:pt x="14" y="44"/>
                    <a:pt x="15" y="42"/>
                    <a:pt x="17" y="41"/>
                  </a:cubicBezTo>
                  <a:cubicBezTo>
                    <a:pt x="15" y="40"/>
                    <a:pt x="14" y="39"/>
                    <a:pt x="14" y="36"/>
                  </a:cubicBezTo>
                  <a:cubicBezTo>
                    <a:pt x="14" y="32"/>
                    <a:pt x="17" y="30"/>
                    <a:pt x="24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22" y="35"/>
                    <a:pt x="22" y="35"/>
                    <a:pt x="22" y="35"/>
                  </a:cubicBezTo>
                  <a:close/>
                  <a:moveTo>
                    <a:pt x="37" y="16"/>
                  </a:moveTo>
                  <a:cubicBezTo>
                    <a:pt x="37" y="17"/>
                    <a:pt x="37" y="17"/>
                    <a:pt x="37" y="18"/>
                  </a:cubicBezTo>
                  <a:cubicBezTo>
                    <a:pt x="38" y="18"/>
                    <a:pt x="39" y="19"/>
                    <a:pt x="39" y="19"/>
                  </a:cubicBezTo>
                  <a:cubicBezTo>
                    <a:pt x="40" y="21"/>
                    <a:pt x="41" y="21"/>
                    <a:pt x="43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9" y="21"/>
                    <a:pt x="50" y="20"/>
                    <a:pt x="50" y="19"/>
                  </a:cubicBezTo>
                  <a:cubicBezTo>
                    <a:pt x="50" y="17"/>
                    <a:pt x="49" y="16"/>
                    <a:pt x="48" y="16"/>
                  </a:cubicBezTo>
                  <a:cubicBezTo>
                    <a:pt x="37" y="16"/>
                    <a:pt x="37" y="16"/>
                    <a:pt x="37" y="16"/>
                  </a:cubicBezTo>
                  <a:close/>
                  <a:moveTo>
                    <a:pt x="42" y="26"/>
                  </a:moveTo>
                  <a:cubicBezTo>
                    <a:pt x="39" y="26"/>
                    <a:pt x="36" y="24"/>
                    <a:pt x="35" y="22"/>
                  </a:cubicBezTo>
                  <a:cubicBezTo>
                    <a:pt x="34" y="21"/>
                    <a:pt x="33" y="20"/>
                    <a:pt x="32" y="19"/>
                  </a:cubicBezTo>
                  <a:cubicBezTo>
                    <a:pt x="32" y="18"/>
                    <a:pt x="31" y="17"/>
                    <a:pt x="31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0" y="16"/>
                    <a:pt x="19" y="17"/>
                    <a:pt x="19" y="18"/>
                  </a:cubicBezTo>
                  <a:cubicBezTo>
                    <a:pt x="19" y="20"/>
                    <a:pt x="20" y="21"/>
                    <a:pt x="22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17" y="25"/>
                    <a:pt x="14" y="23"/>
                    <a:pt x="14" y="18"/>
                  </a:cubicBezTo>
                  <a:cubicBezTo>
                    <a:pt x="14" y="14"/>
                    <a:pt x="17" y="12"/>
                    <a:pt x="24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4" y="17"/>
                    <a:pt x="55" y="18"/>
                    <a:pt x="55" y="20"/>
                  </a:cubicBezTo>
                  <a:cubicBezTo>
                    <a:pt x="55" y="24"/>
                    <a:pt x="52" y="26"/>
                    <a:pt x="45" y="26"/>
                  </a:cubicBezTo>
                  <a:cubicBezTo>
                    <a:pt x="42" y="26"/>
                    <a:pt x="42" y="26"/>
                    <a:pt x="42" y="26"/>
                  </a:cubicBezTo>
                  <a:close/>
                  <a:moveTo>
                    <a:pt x="14" y="9"/>
                  </a:moveTo>
                  <a:cubicBezTo>
                    <a:pt x="14" y="7"/>
                    <a:pt x="14" y="7"/>
                    <a:pt x="14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9" y="2"/>
                    <a:pt x="50" y="1"/>
                    <a:pt x="50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"/>
                    <a:pt x="52" y="7"/>
                    <a:pt x="45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4" y="9"/>
                    <a:pt x="14" y="9"/>
                    <a:pt x="14" y="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>
              <a:off x="6429377" y="2125674"/>
              <a:ext cx="250825" cy="138113"/>
            </a:xfrm>
            <a:custGeom>
              <a:avLst/>
              <a:gdLst/>
              <a:ahLst/>
              <a:cxnLst>
                <a:cxn ang="0">
                  <a:pos x="7" y="50"/>
                </a:cxn>
                <a:cxn ang="0">
                  <a:pos x="9" y="22"/>
                </a:cxn>
                <a:cxn ang="0">
                  <a:pos x="4" y="22"/>
                </a:cxn>
                <a:cxn ang="0">
                  <a:pos x="7" y="60"/>
                </a:cxn>
                <a:cxn ang="0">
                  <a:pos x="9" y="53"/>
                </a:cxn>
                <a:cxn ang="0">
                  <a:pos x="0" y="4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4" y="55"/>
                </a:cxn>
                <a:cxn ang="0">
                  <a:pos x="0" y="57"/>
                </a:cxn>
                <a:cxn ang="0">
                  <a:pos x="7" y="60"/>
                </a:cxn>
                <a:cxn ang="0">
                  <a:pos x="27" y="14"/>
                </a:cxn>
                <a:cxn ang="0">
                  <a:pos x="25" y="19"/>
                </a:cxn>
                <a:cxn ang="0">
                  <a:pos x="23" y="55"/>
                </a:cxn>
                <a:cxn ang="0">
                  <a:pos x="19" y="14"/>
                </a:cxn>
                <a:cxn ang="0">
                  <a:pos x="23" y="16"/>
                </a:cxn>
                <a:cxn ang="0">
                  <a:pos x="38" y="38"/>
                </a:cxn>
                <a:cxn ang="0">
                  <a:pos x="35" y="43"/>
                </a:cxn>
                <a:cxn ang="0">
                  <a:pos x="38" y="50"/>
                </a:cxn>
                <a:cxn ang="0">
                  <a:pos x="40" y="37"/>
                </a:cxn>
                <a:cxn ang="0">
                  <a:pos x="34" y="35"/>
                </a:cxn>
                <a:cxn ang="0">
                  <a:pos x="40" y="31"/>
                </a:cxn>
                <a:cxn ang="0">
                  <a:pos x="38" y="19"/>
                </a:cxn>
                <a:cxn ang="0">
                  <a:pos x="35" y="29"/>
                </a:cxn>
                <a:cxn ang="0">
                  <a:pos x="31" y="24"/>
                </a:cxn>
                <a:cxn ang="0">
                  <a:pos x="45" y="24"/>
                </a:cxn>
                <a:cxn ang="0">
                  <a:pos x="40" y="55"/>
                </a:cxn>
                <a:cxn ang="0">
                  <a:pos x="36" y="55"/>
                </a:cxn>
                <a:cxn ang="0">
                  <a:pos x="30" y="42"/>
                </a:cxn>
                <a:cxn ang="0">
                  <a:pos x="62" y="14"/>
                </a:cxn>
                <a:cxn ang="0">
                  <a:pos x="53" y="50"/>
                </a:cxn>
                <a:cxn ang="0">
                  <a:pos x="62" y="55"/>
                </a:cxn>
                <a:cxn ang="0">
                  <a:pos x="49" y="50"/>
                </a:cxn>
                <a:cxn ang="0">
                  <a:pos x="49" y="19"/>
                </a:cxn>
                <a:cxn ang="0">
                  <a:pos x="66" y="14"/>
                </a:cxn>
                <a:cxn ang="0">
                  <a:pos x="79" y="20"/>
                </a:cxn>
                <a:cxn ang="0">
                  <a:pos x="79" y="50"/>
                </a:cxn>
                <a:cxn ang="0">
                  <a:pos x="66" y="55"/>
                </a:cxn>
                <a:cxn ang="0">
                  <a:pos x="74" y="19"/>
                </a:cxn>
                <a:cxn ang="0">
                  <a:pos x="66" y="14"/>
                </a:cxn>
                <a:cxn ang="0">
                  <a:pos x="83" y="7"/>
                </a:cxn>
                <a:cxn ang="0">
                  <a:pos x="88" y="0"/>
                </a:cxn>
                <a:cxn ang="0">
                  <a:pos x="88" y="55"/>
                </a:cxn>
                <a:cxn ang="0">
                  <a:pos x="83" y="14"/>
                </a:cxn>
                <a:cxn ang="0">
                  <a:pos x="88" y="55"/>
                </a:cxn>
              </a:cxnLst>
              <a:rect l="0" t="0" r="r" b="b"/>
              <a:pathLst>
                <a:path w="88" h="65">
                  <a:moveTo>
                    <a:pt x="4" y="47"/>
                  </a:moveTo>
                  <a:cubicBezTo>
                    <a:pt x="4" y="48"/>
                    <a:pt x="5" y="50"/>
                    <a:pt x="7" y="50"/>
                  </a:cubicBezTo>
                  <a:cubicBezTo>
                    <a:pt x="8" y="50"/>
                    <a:pt x="9" y="48"/>
                    <a:pt x="9" y="47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4" y="20"/>
                    <a:pt x="4" y="22"/>
                  </a:cubicBezTo>
                  <a:lnTo>
                    <a:pt x="4" y="47"/>
                  </a:lnTo>
                  <a:close/>
                  <a:moveTo>
                    <a:pt x="7" y="60"/>
                  </a:moveTo>
                  <a:cubicBezTo>
                    <a:pt x="9" y="60"/>
                    <a:pt x="9" y="59"/>
                    <a:pt x="9" y="57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4"/>
                    <a:pt x="7" y="55"/>
                    <a:pt x="5" y="55"/>
                  </a:cubicBezTo>
                  <a:cubicBezTo>
                    <a:pt x="1" y="55"/>
                    <a:pt x="0" y="51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4"/>
                    <a:pt x="5" y="14"/>
                  </a:cubicBezTo>
                  <a:cubicBezTo>
                    <a:pt x="6" y="14"/>
                    <a:pt x="8" y="15"/>
                    <a:pt x="9" y="16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2"/>
                    <a:pt x="11" y="65"/>
                    <a:pt x="7" y="65"/>
                  </a:cubicBezTo>
                  <a:cubicBezTo>
                    <a:pt x="2" y="65"/>
                    <a:pt x="0" y="63"/>
                    <a:pt x="0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4" y="59"/>
                    <a:pt x="5" y="60"/>
                    <a:pt x="7" y="60"/>
                  </a:cubicBezTo>
                  <a:close/>
                  <a:moveTo>
                    <a:pt x="23" y="16"/>
                  </a:moveTo>
                  <a:cubicBezTo>
                    <a:pt x="24" y="15"/>
                    <a:pt x="25" y="14"/>
                    <a:pt x="27" y="14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19"/>
                    <a:pt x="26" y="19"/>
                    <a:pt x="25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6"/>
                    <a:pt x="23" y="16"/>
                    <a:pt x="23" y="16"/>
                  </a:cubicBezTo>
                  <a:close/>
                  <a:moveTo>
                    <a:pt x="40" y="37"/>
                  </a:moveTo>
                  <a:cubicBezTo>
                    <a:pt x="39" y="37"/>
                    <a:pt x="39" y="37"/>
                    <a:pt x="38" y="38"/>
                  </a:cubicBezTo>
                  <a:cubicBezTo>
                    <a:pt x="38" y="38"/>
                    <a:pt x="37" y="38"/>
                    <a:pt x="37" y="39"/>
                  </a:cubicBezTo>
                  <a:cubicBezTo>
                    <a:pt x="35" y="39"/>
                    <a:pt x="35" y="41"/>
                    <a:pt x="35" y="43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50"/>
                    <a:pt x="36" y="50"/>
                    <a:pt x="38" y="50"/>
                  </a:cubicBezTo>
                  <a:cubicBezTo>
                    <a:pt x="39" y="50"/>
                    <a:pt x="40" y="50"/>
                    <a:pt x="40" y="4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0" y="42"/>
                  </a:moveTo>
                  <a:cubicBezTo>
                    <a:pt x="30" y="39"/>
                    <a:pt x="32" y="37"/>
                    <a:pt x="34" y="35"/>
                  </a:cubicBezTo>
                  <a:cubicBezTo>
                    <a:pt x="35" y="34"/>
                    <a:pt x="37" y="33"/>
                    <a:pt x="38" y="33"/>
                  </a:cubicBezTo>
                  <a:cubicBezTo>
                    <a:pt x="38" y="32"/>
                    <a:pt x="39" y="31"/>
                    <a:pt x="40" y="31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0"/>
                    <a:pt x="39" y="19"/>
                    <a:pt x="38" y="19"/>
                  </a:cubicBezTo>
                  <a:cubicBezTo>
                    <a:pt x="37" y="19"/>
                    <a:pt x="35" y="20"/>
                    <a:pt x="35" y="22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18"/>
                    <a:pt x="33" y="14"/>
                    <a:pt x="38" y="14"/>
                  </a:cubicBezTo>
                  <a:cubicBezTo>
                    <a:pt x="42" y="14"/>
                    <a:pt x="45" y="18"/>
                    <a:pt x="45" y="24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5"/>
                    <a:pt x="38" y="55"/>
                    <a:pt x="36" y="55"/>
                  </a:cubicBezTo>
                  <a:cubicBezTo>
                    <a:pt x="32" y="55"/>
                    <a:pt x="30" y="52"/>
                    <a:pt x="30" y="46"/>
                  </a:cubicBezTo>
                  <a:cubicBezTo>
                    <a:pt x="30" y="42"/>
                    <a:pt x="30" y="42"/>
                    <a:pt x="30" y="42"/>
                  </a:cubicBezTo>
                  <a:close/>
                  <a:moveTo>
                    <a:pt x="49" y="14"/>
                  </a:moveTo>
                  <a:cubicBezTo>
                    <a:pt x="62" y="14"/>
                    <a:pt x="62" y="14"/>
                    <a:pt x="62" y="14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62" y="50"/>
                    <a:pt x="62" y="50"/>
                    <a:pt x="62" y="50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49" y="19"/>
                    <a:pt x="49" y="19"/>
                    <a:pt x="49" y="19"/>
                  </a:cubicBezTo>
                  <a:lnTo>
                    <a:pt x="49" y="14"/>
                  </a:lnTo>
                  <a:close/>
                  <a:moveTo>
                    <a:pt x="66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66" y="19"/>
                    <a:pt x="66" y="19"/>
                    <a:pt x="66" y="19"/>
                  </a:cubicBezTo>
                  <a:lnTo>
                    <a:pt x="66" y="14"/>
                  </a:lnTo>
                  <a:close/>
                  <a:moveTo>
                    <a:pt x="88" y="7"/>
                  </a:moveTo>
                  <a:cubicBezTo>
                    <a:pt x="83" y="7"/>
                    <a:pt x="83" y="7"/>
                    <a:pt x="83" y="7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88" y="7"/>
                  </a:lnTo>
                  <a:close/>
                  <a:moveTo>
                    <a:pt x="88" y="55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55"/>
                    <a:pt x="88" y="55"/>
                    <a:pt x="88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/>
          </p:nvSpPr>
          <p:spPr bwMode="auto">
            <a:xfrm>
              <a:off x="3867151" y="1982800"/>
              <a:ext cx="158750" cy="213122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29" y="94"/>
                </a:cxn>
                <a:cxn ang="0">
                  <a:pos x="15" y="84"/>
                </a:cxn>
                <a:cxn ang="0">
                  <a:pos x="56" y="84"/>
                </a:cxn>
                <a:cxn ang="0">
                  <a:pos x="41" y="94"/>
                </a:cxn>
                <a:cxn ang="0">
                  <a:pos x="56" y="95"/>
                </a:cxn>
                <a:cxn ang="0">
                  <a:pos x="0" y="100"/>
                </a:cxn>
                <a:cxn ang="0">
                  <a:pos x="8" y="82"/>
                </a:cxn>
                <a:cxn ang="0">
                  <a:pos x="0" y="77"/>
                </a:cxn>
                <a:cxn ang="0">
                  <a:pos x="56" y="77"/>
                </a:cxn>
                <a:cxn ang="0">
                  <a:pos x="15" y="82"/>
                </a:cxn>
                <a:cxn ang="0">
                  <a:pos x="56" y="77"/>
                </a:cxn>
                <a:cxn ang="0">
                  <a:pos x="38" y="64"/>
                </a:cxn>
                <a:cxn ang="0">
                  <a:pos x="43" y="68"/>
                </a:cxn>
                <a:cxn ang="0">
                  <a:pos x="51" y="65"/>
                </a:cxn>
                <a:cxn ang="0">
                  <a:pos x="37" y="63"/>
                </a:cxn>
                <a:cxn ang="0">
                  <a:pos x="35" y="69"/>
                </a:cxn>
                <a:cxn ang="0">
                  <a:pos x="31" y="63"/>
                </a:cxn>
                <a:cxn ang="0">
                  <a:pos x="19" y="65"/>
                </a:cxn>
                <a:cxn ang="0">
                  <a:pos x="30" y="67"/>
                </a:cxn>
                <a:cxn ang="0">
                  <a:pos x="24" y="72"/>
                </a:cxn>
                <a:cxn ang="0">
                  <a:pos x="24" y="58"/>
                </a:cxn>
                <a:cxn ang="0">
                  <a:pos x="56" y="63"/>
                </a:cxn>
                <a:cxn ang="0">
                  <a:pos x="56" y="67"/>
                </a:cxn>
                <a:cxn ang="0">
                  <a:pos x="43" y="72"/>
                </a:cxn>
                <a:cxn ang="0">
                  <a:pos x="19" y="38"/>
                </a:cxn>
                <a:cxn ang="0">
                  <a:pos x="48" y="40"/>
                </a:cxn>
                <a:cxn ang="0">
                  <a:pos x="48" y="35"/>
                </a:cxn>
                <a:cxn ang="0">
                  <a:pos x="46" y="31"/>
                </a:cxn>
                <a:cxn ang="0">
                  <a:pos x="46" y="45"/>
                </a:cxn>
                <a:cxn ang="0">
                  <a:pos x="15" y="38"/>
                </a:cxn>
                <a:cxn ang="0">
                  <a:pos x="46" y="31"/>
                </a:cxn>
                <a:cxn ang="0">
                  <a:pos x="15" y="17"/>
                </a:cxn>
                <a:cxn ang="0">
                  <a:pos x="19" y="19"/>
                </a:cxn>
                <a:cxn ang="0">
                  <a:pos x="56" y="21"/>
                </a:cxn>
                <a:cxn ang="0">
                  <a:pos x="15" y="26"/>
                </a:cxn>
                <a:cxn ang="0">
                  <a:pos x="16" y="21"/>
                </a:cxn>
                <a:cxn ang="0">
                  <a:pos x="38" y="6"/>
                </a:cxn>
                <a:cxn ang="0">
                  <a:pos x="43" y="9"/>
                </a:cxn>
                <a:cxn ang="0">
                  <a:pos x="51" y="7"/>
                </a:cxn>
                <a:cxn ang="0">
                  <a:pos x="37" y="4"/>
                </a:cxn>
                <a:cxn ang="0">
                  <a:pos x="35" y="10"/>
                </a:cxn>
                <a:cxn ang="0">
                  <a:pos x="31" y="4"/>
                </a:cxn>
                <a:cxn ang="0">
                  <a:pos x="19" y="6"/>
                </a:cxn>
                <a:cxn ang="0">
                  <a:pos x="30" y="9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56" y="4"/>
                </a:cxn>
                <a:cxn ang="0">
                  <a:pos x="56" y="8"/>
                </a:cxn>
                <a:cxn ang="0">
                  <a:pos x="43" y="14"/>
                </a:cxn>
              </a:cxnLst>
              <a:rect l="0" t="0" r="r" b="b"/>
              <a:pathLst>
                <a:path w="56" h="100">
                  <a:moveTo>
                    <a:pt x="0" y="10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35" y="91"/>
                    <a:pt x="35" y="91"/>
                    <a:pt x="35" y="91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41" y="94"/>
                    <a:pt x="41" y="94"/>
                    <a:pt x="41" y="94"/>
                  </a:cubicBezTo>
                  <a:cubicBezTo>
                    <a:pt x="37" y="95"/>
                    <a:pt x="37" y="95"/>
                    <a:pt x="37" y="95"/>
                  </a:cubicBezTo>
                  <a:cubicBezTo>
                    <a:pt x="56" y="95"/>
                    <a:pt x="56" y="95"/>
                    <a:pt x="56" y="95"/>
                  </a:cubicBezTo>
                  <a:cubicBezTo>
                    <a:pt x="56" y="100"/>
                    <a:pt x="56" y="100"/>
                    <a:pt x="56" y="100"/>
                  </a:cubicBezTo>
                  <a:lnTo>
                    <a:pt x="0" y="100"/>
                  </a:lnTo>
                  <a:close/>
                  <a:moveTo>
                    <a:pt x="8" y="77"/>
                  </a:moveTo>
                  <a:cubicBezTo>
                    <a:pt x="8" y="82"/>
                    <a:pt x="8" y="82"/>
                    <a:pt x="8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8" y="77"/>
                  </a:lnTo>
                  <a:close/>
                  <a:moveTo>
                    <a:pt x="56" y="77"/>
                  </a:moveTo>
                  <a:cubicBezTo>
                    <a:pt x="56" y="82"/>
                    <a:pt x="56" y="82"/>
                    <a:pt x="56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77"/>
                    <a:pt x="15" y="77"/>
                    <a:pt x="15" y="77"/>
                  </a:cubicBezTo>
                  <a:lnTo>
                    <a:pt x="56" y="77"/>
                  </a:lnTo>
                  <a:close/>
                  <a:moveTo>
                    <a:pt x="37" y="63"/>
                  </a:moveTo>
                  <a:cubicBezTo>
                    <a:pt x="38" y="63"/>
                    <a:pt x="38" y="64"/>
                    <a:pt x="38" y="64"/>
                  </a:cubicBezTo>
                  <a:cubicBezTo>
                    <a:pt x="39" y="65"/>
                    <a:pt x="39" y="65"/>
                    <a:pt x="39" y="66"/>
                  </a:cubicBezTo>
                  <a:cubicBezTo>
                    <a:pt x="40" y="67"/>
                    <a:pt x="42" y="68"/>
                    <a:pt x="43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9" y="68"/>
                    <a:pt x="51" y="67"/>
                    <a:pt x="51" y="65"/>
                  </a:cubicBezTo>
                  <a:cubicBezTo>
                    <a:pt x="51" y="64"/>
                    <a:pt x="50" y="63"/>
                    <a:pt x="48" y="63"/>
                  </a:cubicBezTo>
                  <a:cubicBezTo>
                    <a:pt x="37" y="63"/>
                    <a:pt x="37" y="63"/>
                    <a:pt x="37" y="63"/>
                  </a:cubicBezTo>
                  <a:close/>
                  <a:moveTo>
                    <a:pt x="43" y="72"/>
                  </a:moveTo>
                  <a:cubicBezTo>
                    <a:pt x="39" y="72"/>
                    <a:pt x="37" y="71"/>
                    <a:pt x="35" y="69"/>
                  </a:cubicBezTo>
                  <a:cubicBezTo>
                    <a:pt x="34" y="68"/>
                    <a:pt x="34" y="66"/>
                    <a:pt x="33" y="65"/>
                  </a:cubicBezTo>
                  <a:cubicBezTo>
                    <a:pt x="32" y="64"/>
                    <a:pt x="31" y="63"/>
                    <a:pt x="31" y="63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0" y="63"/>
                    <a:pt x="19" y="63"/>
                    <a:pt x="19" y="65"/>
                  </a:cubicBezTo>
                  <a:cubicBezTo>
                    <a:pt x="19" y="67"/>
                    <a:pt x="20" y="67"/>
                    <a:pt x="22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7" y="72"/>
                    <a:pt x="15" y="69"/>
                    <a:pt x="15" y="65"/>
                  </a:cubicBezTo>
                  <a:cubicBezTo>
                    <a:pt x="15" y="60"/>
                    <a:pt x="17" y="58"/>
                    <a:pt x="24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55" y="63"/>
                    <a:pt x="56" y="65"/>
                    <a:pt x="56" y="67"/>
                  </a:cubicBezTo>
                  <a:cubicBezTo>
                    <a:pt x="56" y="71"/>
                    <a:pt x="52" y="72"/>
                    <a:pt x="46" y="72"/>
                  </a:cubicBezTo>
                  <a:lnTo>
                    <a:pt x="43" y="72"/>
                  </a:lnTo>
                  <a:close/>
                  <a:moveTo>
                    <a:pt x="22" y="35"/>
                  </a:moveTo>
                  <a:cubicBezTo>
                    <a:pt x="20" y="35"/>
                    <a:pt x="19" y="36"/>
                    <a:pt x="19" y="38"/>
                  </a:cubicBezTo>
                  <a:cubicBezTo>
                    <a:pt x="19" y="40"/>
                    <a:pt x="20" y="40"/>
                    <a:pt x="22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9" y="40"/>
                    <a:pt x="51" y="39"/>
                    <a:pt x="51" y="38"/>
                  </a:cubicBezTo>
                  <a:cubicBezTo>
                    <a:pt x="51" y="36"/>
                    <a:pt x="50" y="35"/>
                    <a:pt x="48" y="35"/>
                  </a:cubicBezTo>
                  <a:lnTo>
                    <a:pt x="22" y="35"/>
                  </a:lnTo>
                  <a:close/>
                  <a:moveTo>
                    <a:pt x="46" y="31"/>
                  </a:moveTo>
                  <a:cubicBezTo>
                    <a:pt x="52" y="31"/>
                    <a:pt x="56" y="33"/>
                    <a:pt x="56" y="38"/>
                  </a:cubicBezTo>
                  <a:cubicBezTo>
                    <a:pt x="56" y="42"/>
                    <a:pt x="52" y="45"/>
                    <a:pt x="46" y="4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17" y="45"/>
                    <a:pt x="15" y="42"/>
                    <a:pt x="15" y="38"/>
                  </a:cubicBezTo>
                  <a:cubicBezTo>
                    <a:pt x="15" y="33"/>
                    <a:pt x="17" y="31"/>
                    <a:pt x="24" y="31"/>
                  </a:cubicBezTo>
                  <a:lnTo>
                    <a:pt x="46" y="31"/>
                  </a:lnTo>
                  <a:close/>
                  <a:moveTo>
                    <a:pt x="16" y="21"/>
                  </a:moveTo>
                  <a:cubicBezTo>
                    <a:pt x="15" y="21"/>
                    <a:pt x="15" y="19"/>
                    <a:pt x="15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8"/>
                    <a:pt x="19" y="18"/>
                    <a:pt x="19" y="19"/>
                  </a:cubicBezTo>
                  <a:cubicBezTo>
                    <a:pt x="19" y="21"/>
                    <a:pt x="20" y="21"/>
                    <a:pt x="22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1"/>
                    <a:pt x="15" y="21"/>
                    <a:pt x="15" y="21"/>
                  </a:cubicBezTo>
                  <a:lnTo>
                    <a:pt x="16" y="21"/>
                  </a:lnTo>
                  <a:close/>
                  <a:moveTo>
                    <a:pt x="37" y="4"/>
                  </a:moveTo>
                  <a:cubicBezTo>
                    <a:pt x="38" y="5"/>
                    <a:pt x="38" y="5"/>
                    <a:pt x="38" y="6"/>
                  </a:cubicBezTo>
                  <a:cubicBezTo>
                    <a:pt x="39" y="6"/>
                    <a:pt x="39" y="7"/>
                    <a:pt x="39" y="8"/>
                  </a:cubicBezTo>
                  <a:cubicBezTo>
                    <a:pt x="40" y="9"/>
                    <a:pt x="42" y="9"/>
                    <a:pt x="43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9" y="9"/>
                    <a:pt x="51" y="8"/>
                    <a:pt x="51" y="7"/>
                  </a:cubicBezTo>
                  <a:cubicBezTo>
                    <a:pt x="51" y="5"/>
                    <a:pt x="50" y="4"/>
                    <a:pt x="48" y="4"/>
                  </a:cubicBezTo>
                  <a:cubicBezTo>
                    <a:pt x="37" y="4"/>
                    <a:pt x="37" y="4"/>
                    <a:pt x="37" y="4"/>
                  </a:cubicBezTo>
                  <a:close/>
                  <a:moveTo>
                    <a:pt x="43" y="14"/>
                  </a:moveTo>
                  <a:cubicBezTo>
                    <a:pt x="39" y="14"/>
                    <a:pt x="37" y="13"/>
                    <a:pt x="35" y="10"/>
                  </a:cubicBezTo>
                  <a:cubicBezTo>
                    <a:pt x="34" y="9"/>
                    <a:pt x="34" y="8"/>
                    <a:pt x="33" y="7"/>
                  </a:cubicBezTo>
                  <a:cubicBezTo>
                    <a:pt x="32" y="6"/>
                    <a:pt x="31" y="5"/>
                    <a:pt x="31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0" y="4"/>
                    <a:pt x="19" y="5"/>
                    <a:pt x="19" y="6"/>
                  </a:cubicBezTo>
                  <a:cubicBezTo>
                    <a:pt x="19" y="8"/>
                    <a:pt x="20" y="9"/>
                    <a:pt x="22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3"/>
                    <a:pt x="15" y="11"/>
                    <a:pt x="15" y="6"/>
                  </a:cubicBezTo>
                  <a:cubicBezTo>
                    <a:pt x="15" y="2"/>
                    <a:pt x="17" y="0"/>
                    <a:pt x="2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5" y="5"/>
                    <a:pt x="56" y="6"/>
                    <a:pt x="56" y="8"/>
                  </a:cubicBezTo>
                  <a:cubicBezTo>
                    <a:pt x="56" y="12"/>
                    <a:pt x="52" y="14"/>
                    <a:pt x="46" y="14"/>
                  </a:cubicBezTo>
                  <a:cubicBezTo>
                    <a:pt x="43" y="14"/>
                    <a:pt x="43" y="14"/>
                    <a:pt x="43" y="14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 noEditPoints="1"/>
            </p:cNvSpPr>
            <p:nvPr/>
          </p:nvSpPr>
          <p:spPr bwMode="auto">
            <a:xfrm>
              <a:off x="7961313" y="2475718"/>
              <a:ext cx="280988" cy="119063"/>
            </a:xfrm>
            <a:custGeom>
              <a:avLst/>
              <a:gdLst/>
              <a:ahLst/>
              <a:cxnLst>
                <a:cxn ang="0">
                  <a:pos x="8" y="38"/>
                </a:cxn>
                <a:cxn ang="0">
                  <a:pos x="5" y="44"/>
                </a:cxn>
                <a:cxn ang="0">
                  <a:pos x="7" y="51"/>
                </a:cxn>
                <a:cxn ang="0">
                  <a:pos x="10" y="37"/>
                </a:cxn>
                <a:cxn ang="0">
                  <a:pos x="4" y="35"/>
                </a:cxn>
                <a:cxn ang="0">
                  <a:pos x="10" y="31"/>
                </a:cxn>
                <a:cxn ang="0">
                  <a:pos x="7" y="19"/>
                </a:cxn>
                <a:cxn ang="0">
                  <a:pos x="6" y="30"/>
                </a:cxn>
                <a:cxn ang="0">
                  <a:pos x="1" y="24"/>
                </a:cxn>
                <a:cxn ang="0">
                  <a:pos x="15" y="24"/>
                </a:cxn>
                <a:cxn ang="0">
                  <a:pos x="10" y="56"/>
                </a:cxn>
                <a:cxn ang="0">
                  <a:pos x="6" y="56"/>
                </a:cxn>
                <a:cxn ang="0">
                  <a:pos x="0" y="43"/>
                </a:cxn>
                <a:cxn ang="0">
                  <a:pos x="25" y="19"/>
                </a:cxn>
                <a:cxn ang="0">
                  <a:pos x="23" y="26"/>
                </a:cxn>
                <a:cxn ang="0">
                  <a:pos x="32" y="45"/>
                </a:cxn>
                <a:cxn ang="0">
                  <a:pos x="19" y="45"/>
                </a:cxn>
                <a:cxn ang="0">
                  <a:pos x="23" y="44"/>
                </a:cxn>
                <a:cxn ang="0">
                  <a:pos x="25" y="51"/>
                </a:cxn>
                <a:cxn ang="0">
                  <a:pos x="28" y="44"/>
                </a:cxn>
                <a:cxn ang="0">
                  <a:pos x="19" y="25"/>
                </a:cxn>
                <a:cxn ang="0">
                  <a:pos x="32" y="25"/>
                </a:cxn>
                <a:cxn ang="0">
                  <a:pos x="27" y="28"/>
                </a:cxn>
                <a:cxn ang="0">
                  <a:pos x="46" y="37"/>
                </a:cxn>
                <a:cxn ang="0">
                  <a:pos x="42" y="39"/>
                </a:cxn>
                <a:cxn ang="0">
                  <a:pos x="41" y="48"/>
                </a:cxn>
                <a:cxn ang="0">
                  <a:pos x="46" y="48"/>
                </a:cxn>
                <a:cxn ang="0">
                  <a:pos x="36" y="43"/>
                </a:cxn>
                <a:cxn ang="0">
                  <a:pos x="43" y="33"/>
                </a:cxn>
                <a:cxn ang="0">
                  <a:pos x="46" y="22"/>
                </a:cxn>
                <a:cxn ang="0">
                  <a:pos x="41" y="22"/>
                </a:cxn>
                <a:cxn ang="0">
                  <a:pos x="37" y="30"/>
                </a:cxn>
                <a:cxn ang="0">
                  <a:pos x="43" y="14"/>
                </a:cxn>
                <a:cxn ang="0">
                  <a:pos x="51" y="56"/>
                </a:cxn>
                <a:cxn ang="0">
                  <a:pos x="46" y="54"/>
                </a:cxn>
                <a:cxn ang="0">
                  <a:pos x="36" y="46"/>
                </a:cxn>
                <a:cxn ang="0">
                  <a:pos x="65" y="22"/>
                </a:cxn>
                <a:cxn ang="0">
                  <a:pos x="60" y="22"/>
                </a:cxn>
                <a:cxn ang="0">
                  <a:pos x="55" y="56"/>
                </a:cxn>
                <a:cxn ang="0">
                  <a:pos x="60" y="14"/>
                </a:cxn>
                <a:cxn ang="0">
                  <a:pos x="64" y="14"/>
                </a:cxn>
                <a:cxn ang="0">
                  <a:pos x="69" y="56"/>
                </a:cxn>
                <a:cxn ang="0">
                  <a:pos x="65" y="22"/>
                </a:cxn>
                <a:cxn ang="0">
                  <a:pos x="74" y="14"/>
                </a:cxn>
                <a:cxn ang="0">
                  <a:pos x="79" y="0"/>
                </a:cxn>
                <a:cxn ang="0">
                  <a:pos x="81" y="14"/>
                </a:cxn>
                <a:cxn ang="0">
                  <a:pos x="79" y="19"/>
                </a:cxn>
                <a:cxn ang="0">
                  <a:pos x="81" y="51"/>
                </a:cxn>
                <a:cxn ang="0">
                  <a:pos x="74" y="46"/>
                </a:cxn>
                <a:cxn ang="0">
                  <a:pos x="72" y="19"/>
                </a:cxn>
                <a:cxn ang="0">
                  <a:pos x="89" y="31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99" y="40"/>
                </a:cxn>
                <a:cxn ang="0">
                  <a:pos x="92" y="56"/>
                </a:cxn>
                <a:cxn ang="0">
                  <a:pos x="85" y="24"/>
                </a:cxn>
                <a:cxn ang="0">
                  <a:pos x="99" y="24"/>
                </a:cxn>
                <a:cxn ang="0">
                  <a:pos x="89" y="36"/>
                </a:cxn>
              </a:cxnLst>
              <a:rect l="0" t="0" r="r" b="b"/>
              <a:pathLst>
                <a:path w="99" h="56">
                  <a:moveTo>
                    <a:pt x="10" y="37"/>
                  </a:moveTo>
                  <a:cubicBezTo>
                    <a:pt x="9" y="37"/>
                    <a:pt x="9" y="38"/>
                    <a:pt x="8" y="38"/>
                  </a:cubicBezTo>
                  <a:cubicBezTo>
                    <a:pt x="7" y="39"/>
                    <a:pt x="7" y="39"/>
                    <a:pt x="6" y="39"/>
                  </a:cubicBezTo>
                  <a:cubicBezTo>
                    <a:pt x="6" y="40"/>
                    <a:pt x="5" y="41"/>
                    <a:pt x="5" y="44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9" y="51"/>
                    <a:pt x="10" y="50"/>
                    <a:pt x="10" y="48"/>
                  </a:cubicBezTo>
                  <a:cubicBezTo>
                    <a:pt x="10" y="37"/>
                    <a:pt x="10" y="37"/>
                    <a:pt x="10" y="37"/>
                  </a:cubicBezTo>
                  <a:close/>
                  <a:moveTo>
                    <a:pt x="0" y="43"/>
                  </a:moveTo>
                  <a:cubicBezTo>
                    <a:pt x="0" y="40"/>
                    <a:pt x="1" y="37"/>
                    <a:pt x="4" y="35"/>
                  </a:cubicBezTo>
                  <a:cubicBezTo>
                    <a:pt x="5" y="35"/>
                    <a:pt x="6" y="34"/>
                    <a:pt x="7" y="33"/>
                  </a:cubicBezTo>
                  <a:cubicBezTo>
                    <a:pt x="9" y="32"/>
                    <a:pt x="9" y="32"/>
                    <a:pt x="10" y="31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9" y="19"/>
                    <a:pt x="7" y="19"/>
                  </a:cubicBezTo>
                  <a:cubicBezTo>
                    <a:pt x="6" y="19"/>
                    <a:pt x="6" y="21"/>
                    <a:pt x="6" y="22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8"/>
                    <a:pt x="3" y="14"/>
                    <a:pt x="7" y="14"/>
                  </a:cubicBezTo>
                  <a:cubicBezTo>
                    <a:pt x="12" y="14"/>
                    <a:pt x="15" y="18"/>
                    <a:pt x="15" y="2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9" y="55"/>
                    <a:pt x="8" y="56"/>
                    <a:pt x="6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43"/>
                    <a:pt x="0" y="43"/>
                    <a:pt x="0" y="43"/>
                  </a:cubicBezTo>
                  <a:close/>
                  <a:moveTo>
                    <a:pt x="27" y="22"/>
                  </a:moveTo>
                  <a:cubicBezTo>
                    <a:pt x="27" y="20"/>
                    <a:pt x="26" y="19"/>
                    <a:pt x="25" y="19"/>
                  </a:cubicBezTo>
                  <a:cubicBezTo>
                    <a:pt x="24" y="19"/>
                    <a:pt x="23" y="20"/>
                    <a:pt x="23" y="22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8"/>
                    <a:pt x="25" y="31"/>
                    <a:pt x="28" y="35"/>
                  </a:cubicBezTo>
                  <a:cubicBezTo>
                    <a:pt x="31" y="38"/>
                    <a:pt x="32" y="42"/>
                    <a:pt x="32" y="45"/>
                  </a:cubicBezTo>
                  <a:cubicBezTo>
                    <a:pt x="32" y="52"/>
                    <a:pt x="30" y="56"/>
                    <a:pt x="25" y="56"/>
                  </a:cubicBezTo>
                  <a:cubicBezTo>
                    <a:pt x="21" y="56"/>
                    <a:pt x="19" y="52"/>
                    <a:pt x="19" y="45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50"/>
                    <a:pt x="24" y="51"/>
                    <a:pt x="25" y="51"/>
                  </a:cubicBezTo>
                  <a:cubicBezTo>
                    <a:pt x="26" y="51"/>
                    <a:pt x="28" y="50"/>
                    <a:pt x="28" y="48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2"/>
                    <a:pt x="26" y="39"/>
                    <a:pt x="23" y="36"/>
                  </a:cubicBezTo>
                  <a:cubicBezTo>
                    <a:pt x="20" y="33"/>
                    <a:pt x="19" y="29"/>
                    <a:pt x="19" y="25"/>
                  </a:cubicBezTo>
                  <a:cubicBezTo>
                    <a:pt x="19" y="18"/>
                    <a:pt x="21" y="14"/>
                    <a:pt x="25" y="14"/>
                  </a:cubicBezTo>
                  <a:cubicBezTo>
                    <a:pt x="30" y="14"/>
                    <a:pt x="32" y="18"/>
                    <a:pt x="32" y="25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27" y="28"/>
                    <a:pt x="27" y="28"/>
                    <a:pt x="27" y="28"/>
                  </a:cubicBezTo>
                  <a:lnTo>
                    <a:pt x="27" y="22"/>
                  </a:lnTo>
                  <a:close/>
                  <a:moveTo>
                    <a:pt x="46" y="37"/>
                  </a:moveTo>
                  <a:cubicBezTo>
                    <a:pt x="45" y="37"/>
                    <a:pt x="44" y="38"/>
                    <a:pt x="44" y="38"/>
                  </a:cubicBezTo>
                  <a:cubicBezTo>
                    <a:pt x="43" y="39"/>
                    <a:pt x="43" y="39"/>
                    <a:pt x="42" y="39"/>
                  </a:cubicBezTo>
                  <a:cubicBezTo>
                    <a:pt x="41" y="40"/>
                    <a:pt x="41" y="41"/>
                    <a:pt x="41" y="44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50"/>
                    <a:pt x="42" y="51"/>
                    <a:pt x="43" y="51"/>
                  </a:cubicBezTo>
                  <a:cubicBezTo>
                    <a:pt x="45" y="51"/>
                    <a:pt x="46" y="50"/>
                    <a:pt x="46" y="48"/>
                  </a:cubicBezTo>
                  <a:cubicBezTo>
                    <a:pt x="46" y="37"/>
                    <a:pt x="46" y="37"/>
                    <a:pt x="46" y="37"/>
                  </a:cubicBezTo>
                  <a:close/>
                  <a:moveTo>
                    <a:pt x="36" y="43"/>
                  </a:moveTo>
                  <a:cubicBezTo>
                    <a:pt x="36" y="40"/>
                    <a:pt x="37" y="37"/>
                    <a:pt x="40" y="35"/>
                  </a:cubicBezTo>
                  <a:cubicBezTo>
                    <a:pt x="41" y="35"/>
                    <a:pt x="42" y="34"/>
                    <a:pt x="43" y="33"/>
                  </a:cubicBezTo>
                  <a:cubicBezTo>
                    <a:pt x="44" y="32"/>
                    <a:pt x="45" y="32"/>
                    <a:pt x="46" y="31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1"/>
                    <a:pt x="45" y="19"/>
                    <a:pt x="43" y="19"/>
                  </a:cubicBezTo>
                  <a:cubicBezTo>
                    <a:pt x="42" y="19"/>
                    <a:pt x="41" y="21"/>
                    <a:pt x="41" y="22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18"/>
                    <a:pt x="39" y="14"/>
                    <a:pt x="43" y="14"/>
                  </a:cubicBezTo>
                  <a:cubicBezTo>
                    <a:pt x="48" y="14"/>
                    <a:pt x="51" y="18"/>
                    <a:pt x="51" y="24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5" y="55"/>
                    <a:pt x="43" y="56"/>
                    <a:pt x="42" y="56"/>
                  </a:cubicBezTo>
                  <a:cubicBezTo>
                    <a:pt x="38" y="56"/>
                    <a:pt x="36" y="53"/>
                    <a:pt x="36" y="46"/>
                  </a:cubicBezTo>
                  <a:cubicBezTo>
                    <a:pt x="36" y="43"/>
                    <a:pt x="36" y="43"/>
                    <a:pt x="36" y="43"/>
                  </a:cubicBezTo>
                  <a:close/>
                  <a:moveTo>
                    <a:pt x="65" y="22"/>
                  </a:moveTo>
                  <a:cubicBezTo>
                    <a:pt x="65" y="21"/>
                    <a:pt x="64" y="19"/>
                    <a:pt x="62" y="19"/>
                  </a:cubicBezTo>
                  <a:cubicBezTo>
                    <a:pt x="60" y="19"/>
                    <a:pt x="60" y="21"/>
                    <a:pt x="60" y="22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5"/>
                    <a:pt x="61" y="14"/>
                    <a:pt x="64" y="14"/>
                  </a:cubicBezTo>
                  <a:cubicBezTo>
                    <a:pt x="68" y="14"/>
                    <a:pt x="69" y="18"/>
                    <a:pt x="69" y="24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22"/>
                    <a:pt x="65" y="22"/>
                    <a:pt x="65" y="22"/>
                  </a:cubicBezTo>
                  <a:close/>
                  <a:moveTo>
                    <a:pt x="72" y="14"/>
                  </a:moveTo>
                  <a:cubicBezTo>
                    <a:pt x="74" y="14"/>
                    <a:pt x="74" y="14"/>
                    <a:pt x="74" y="14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50"/>
                    <a:pt x="79" y="51"/>
                    <a:pt x="81" y="51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77" y="56"/>
                    <a:pt x="74" y="53"/>
                    <a:pt x="74" y="46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4"/>
                    <a:pt x="72" y="14"/>
                    <a:pt x="72" y="14"/>
                  </a:cubicBezTo>
                  <a:close/>
                  <a:moveTo>
                    <a:pt x="89" y="31"/>
                  </a:moveTo>
                  <a:cubicBezTo>
                    <a:pt x="94" y="31"/>
                    <a:pt x="94" y="31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1"/>
                    <a:pt x="93" y="19"/>
                    <a:pt x="92" y="19"/>
                  </a:cubicBezTo>
                  <a:cubicBezTo>
                    <a:pt x="90" y="19"/>
                    <a:pt x="89" y="21"/>
                    <a:pt x="89" y="22"/>
                  </a:cubicBezTo>
                  <a:lnTo>
                    <a:pt x="89" y="31"/>
                  </a:lnTo>
                  <a:close/>
                  <a:moveTo>
                    <a:pt x="89" y="48"/>
                  </a:moveTo>
                  <a:cubicBezTo>
                    <a:pt x="89" y="50"/>
                    <a:pt x="91" y="51"/>
                    <a:pt x="92" y="51"/>
                  </a:cubicBezTo>
                  <a:cubicBezTo>
                    <a:pt x="93" y="51"/>
                    <a:pt x="94" y="50"/>
                    <a:pt x="94" y="48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9" y="40"/>
                    <a:pt x="99" y="40"/>
                    <a:pt x="99" y="40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53"/>
                    <a:pt x="97" y="56"/>
                    <a:pt x="92" y="56"/>
                  </a:cubicBezTo>
                  <a:cubicBezTo>
                    <a:pt x="87" y="56"/>
                    <a:pt x="85" y="53"/>
                    <a:pt x="85" y="46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18"/>
                    <a:pt x="87" y="14"/>
                    <a:pt x="92" y="14"/>
                  </a:cubicBezTo>
                  <a:cubicBezTo>
                    <a:pt x="97" y="14"/>
                    <a:pt x="99" y="18"/>
                    <a:pt x="99" y="24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89" y="48"/>
                    <a:pt x="89" y="48"/>
                    <a:pt x="89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3"/>
            <p:cNvSpPr>
              <a:spLocks noEditPoints="1"/>
            </p:cNvSpPr>
            <p:nvPr/>
          </p:nvSpPr>
          <p:spPr bwMode="auto">
            <a:xfrm>
              <a:off x="1847851" y="2305458"/>
              <a:ext cx="280988" cy="119063"/>
            </a:xfrm>
            <a:custGeom>
              <a:avLst/>
              <a:gdLst/>
              <a:ahLst/>
              <a:cxnLst>
                <a:cxn ang="0">
                  <a:pos x="7" y="51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14" y="56"/>
                </a:cxn>
                <a:cxn ang="0">
                  <a:pos x="10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10" y="0"/>
                </a:cxn>
                <a:cxn ang="0">
                  <a:pos x="14" y="56"/>
                </a:cxn>
                <a:cxn ang="0">
                  <a:pos x="26" y="38"/>
                </a:cxn>
                <a:cxn ang="0">
                  <a:pos x="24" y="43"/>
                </a:cxn>
                <a:cxn ang="0">
                  <a:pos x="26" y="51"/>
                </a:cxn>
                <a:cxn ang="0">
                  <a:pos x="28" y="37"/>
                </a:cxn>
                <a:cxn ang="0">
                  <a:pos x="23" y="35"/>
                </a:cxn>
                <a:cxn ang="0">
                  <a:pos x="28" y="31"/>
                </a:cxn>
                <a:cxn ang="0">
                  <a:pos x="26" y="20"/>
                </a:cxn>
                <a:cxn ang="0">
                  <a:pos x="24" y="30"/>
                </a:cxn>
                <a:cxn ang="0">
                  <a:pos x="19" y="24"/>
                </a:cxn>
                <a:cxn ang="0">
                  <a:pos x="33" y="24"/>
                </a:cxn>
                <a:cxn ang="0">
                  <a:pos x="28" y="56"/>
                </a:cxn>
                <a:cxn ang="0">
                  <a:pos x="24" y="56"/>
                </a:cxn>
                <a:cxn ang="0">
                  <a:pos x="19" y="43"/>
                </a:cxn>
                <a:cxn ang="0">
                  <a:pos x="45" y="20"/>
                </a:cxn>
                <a:cxn ang="0">
                  <a:pos x="42" y="56"/>
                </a:cxn>
                <a:cxn ang="0">
                  <a:pos x="38" y="15"/>
                </a:cxn>
                <a:cxn ang="0">
                  <a:pos x="42" y="16"/>
                </a:cxn>
                <a:cxn ang="0">
                  <a:pos x="52" y="24"/>
                </a:cxn>
                <a:cxn ang="0">
                  <a:pos x="47" y="56"/>
                </a:cxn>
                <a:cxn ang="0">
                  <a:pos x="56" y="0"/>
                </a:cxn>
                <a:cxn ang="0">
                  <a:pos x="61" y="34"/>
                </a:cxn>
                <a:cxn ang="0">
                  <a:pos x="68" y="15"/>
                </a:cxn>
                <a:cxn ang="0">
                  <a:pos x="65" y="35"/>
                </a:cxn>
                <a:cxn ang="0">
                  <a:pos x="68" y="56"/>
                </a:cxn>
                <a:cxn ang="0">
                  <a:pos x="61" y="37"/>
                </a:cxn>
                <a:cxn ang="0">
                  <a:pos x="56" y="56"/>
                </a:cxn>
                <a:cxn ang="0">
                  <a:pos x="80" y="8"/>
                </a:cxn>
                <a:cxn ang="0">
                  <a:pos x="75" y="0"/>
                </a:cxn>
                <a:cxn ang="0">
                  <a:pos x="80" y="8"/>
                </a:cxn>
                <a:cxn ang="0">
                  <a:pos x="75" y="56"/>
                </a:cxn>
                <a:cxn ang="0">
                  <a:pos x="80" y="15"/>
                </a:cxn>
                <a:cxn ang="0">
                  <a:pos x="89" y="31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99" y="40"/>
                </a:cxn>
                <a:cxn ang="0">
                  <a:pos x="92" y="56"/>
                </a:cxn>
                <a:cxn ang="0">
                  <a:pos x="84" y="24"/>
                </a:cxn>
                <a:cxn ang="0">
                  <a:pos x="99" y="24"/>
                </a:cxn>
                <a:cxn ang="0">
                  <a:pos x="89" y="36"/>
                </a:cxn>
              </a:cxnLst>
              <a:rect l="0" t="0" r="r" b="b"/>
              <a:pathLst>
                <a:path w="99" h="56">
                  <a:moveTo>
                    <a:pt x="5" y="48"/>
                  </a:moveTo>
                  <a:cubicBezTo>
                    <a:pt x="5" y="50"/>
                    <a:pt x="6" y="51"/>
                    <a:pt x="7" y="51"/>
                  </a:cubicBezTo>
                  <a:cubicBezTo>
                    <a:pt x="8" y="51"/>
                    <a:pt x="10" y="50"/>
                    <a:pt x="10" y="48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1"/>
                    <a:pt x="8" y="20"/>
                    <a:pt x="7" y="20"/>
                  </a:cubicBezTo>
                  <a:cubicBezTo>
                    <a:pt x="5" y="20"/>
                    <a:pt x="5" y="20"/>
                    <a:pt x="5" y="22"/>
                  </a:cubicBezTo>
                  <a:lnTo>
                    <a:pt x="5" y="48"/>
                  </a:lnTo>
                  <a:close/>
                  <a:moveTo>
                    <a:pt x="14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8" y="55"/>
                    <a:pt x="7" y="56"/>
                    <a:pt x="5" y="56"/>
                  </a:cubicBezTo>
                  <a:cubicBezTo>
                    <a:pt x="2" y="56"/>
                    <a:pt x="0" y="53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2" y="15"/>
                    <a:pt x="5" y="15"/>
                  </a:cubicBezTo>
                  <a:cubicBezTo>
                    <a:pt x="7" y="15"/>
                    <a:pt x="9" y="15"/>
                    <a:pt x="10" y="1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6"/>
                  </a:lnTo>
                  <a:close/>
                  <a:moveTo>
                    <a:pt x="28" y="37"/>
                  </a:moveTo>
                  <a:cubicBezTo>
                    <a:pt x="28" y="38"/>
                    <a:pt x="27" y="38"/>
                    <a:pt x="26" y="38"/>
                  </a:cubicBezTo>
                  <a:cubicBezTo>
                    <a:pt x="26" y="39"/>
                    <a:pt x="25" y="39"/>
                    <a:pt x="25" y="39"/>
                  </a:cubicBezTo>
                  <a:cubicBezTo>
                    <a:pt x="24" y="40"/>
                    <a:pt x="24" y="42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50"/>
                    <a:pt x="24" y="51"/>
                    <a:pt x="26" y="51"/>
                  </a:cubicBezTo>
                  <a:cubicBezTo>
                    <a:pt x="28" y="51"/>
                    <a:pt x="28" y="50"/>
                    <a:pt x="28" y="48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19" y="43"/>
                  </a:moveTo>
                  <a:cubicBezTo>
                    <a:pt x="19" y="40"/>
                    <a:pt x="20" y="37"/>
                    <a:pt x="23" y="35"/>
                  </a:cubicBezTo>
                  <a:cubicBezTo>
                    <a:pt x="24" y="35"/>
                    <a:pt x="25" y="34"/>
                    <a:pt x="26" y="33"/>
                  </a:cubicBezTo>
                  <a:cubicBezTo>
                    <a:pt x="27" y="33"/>
                    <a:pt x="28" y="32"/>
                    <a:pt x="28" y="3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1"/>
                    <a:pt x="28" y="20"/>
                    <a:pt x="26" y="20"/>
                  </a:cubicBezTo>
                  <a:cubicBezTo>
                    <a:pt x="25" y="20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18"/>
                    <a:pt x="21" y="15"/>
                    <a:pt x="26" y="15"/>
                  </a:cubicBezTo>
                  <a:cubicBezTo>
                    <a:pt x="31" y="15"/>
                    <a:pt x="33" y="18"/>
                    <a:pt x="33" y="24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6" y="56"/>
                    <a:pt x="24" y="56"/>
                  </a:cubicBezTo>
                  <a:cubicBezTo>
                    <a:pt x="20" y="56"/>
                    <a:pt x="19" y="53"/>
                    <a:pt x="19" y="46"/>
                  </a:cubicBezTo>
                  <a:lnTo>
                    <a:pt x="19" y="43"/>
                  </a:lnTo>
                  <a:close/>
                  <a:moveTo>
                    <a:pt x="47" y="22"/>
                  </a:moveTo>
                  <a:cubicBezTo>
                    <a:pt x="47" y="21"/>
                    <a:pt x="47" y="20"/>
                    <a:pt x="45" y="20"/>
                  </a:cubicBezTo>
                  <a:cubicBezTo>
                    <a:pt x="43" y="20"/>
                    <a:pt x="42" y="20"/>
                    <a:pt x="42" y="2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3" y="15"/>
                    <a:pt x="44" y="15"/>
                    <a:pt x="46" y="15"/>
                  </a:cubicBezTo>
                  <a:cubicBezTo>
                    <a:pt x="50" y="15"/>
                    <a:pt x="52" y="18"/>
                    <a:pt x="52" y="24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56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56" y="56"/>
                    <a:pt x="56" y="56"/>
                    <a:pt x="56" y="56"/>
                  </a:cubicBezTo>
                  <a:lnTo>
                    <a:pt x="56" y="0"/>
                  </a:lnTo>
                  <a:close/>
                  <a:moveTo>
                    <a:pt x="80" y="8"/>
                  </a:moveTo>
                  <a:cubicBezTo>
                    <a:pt x="75" y="8"/>
                    <a:pt x="75" y="8"/>
                    <a:pt x="75" y="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0" y="0"/>
                    <a:pt x="80" y="0"/>
                    <a:pt x="80" y="0"/>
                  </a:cubicBezTo>
                  <a:lnTo>
                    <a:pt x="80" y="8"/>
                  </a:lnTo>
                  <a:close/>
                  <a:moveTo>
                    <a:pt x="80" y="56"/>
                  </a:moveTo>
                  <a:cubicBezTo>
                    <a:pt x="75" y="56"/>
                    <a:pt x="75" y="56"/>
                    <a:pt x="75" y="56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80" y="15"/>
                    <a:pt x="80" y="15"/>
                    <a:pt x="80" y="15"/>
                  </a:cubicBezTo>
                  <a:lnTo>
                    <a:pt x="80" y="56"/>
                  </a:lnTo>
                  <a:close/>
                  <a:moveTo>
                    <a:pt x="89" y="31"/>
                  </a:moveTo>
                  <a:cubicBezTo>
                    <a:pt x="94" y="31"/>
                    <a:pt x="94" y="31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1"/>
                    <a:pt x="93" y="20"/>
                    <a:pt x="92" y="20"/>
                  </a:cubicBezTo>
                  <a:cubicBezTo>
                    <a:pt x="90" y="20"/>
                    <a:pt x="89" y="20"/>
                    <a:pt x="89" y="22"/>
                  </a:cubicBezTo>
                  <a:lnTo>
                    <a:pt x="89" y="31"/>
                  </a:lnTo>
                  <a:close/>
                  <a:moveTo>
                    <a:pt x="89" y="48"/>
                  </a:moveTo>
                  <a:cubicBezTo>
                    <a:pt x="89" y="50"/>
                    <a:pt x="90" y="51"/>
                    <a:pt x="92" y="51"/>
                  </a:cubicBezTo>
                  <a:cubicBezTo>
                    <a:pt x="93" y="51"/>
                    <a:pt x="94" y="50"/>
                    <a:pt x="94" y="48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9" y="40"/>
                    <a:pt x="99" y="40"/>
                    <a:pt x="99" y="40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53"/>
                    <a:pt x="96" y="56"/>
                    <a:pt x="92" y="56"/>
                  </a:cubicBezTo>
                  <a:cubicBezTo>
                    <a:pt x="87" y="56"/>
                    <a:pt x="84" y="53"/>
                    <a:pt x="84" y="46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8"/>
                    <a:pt x="87" y="15"/>
                    <a:pt x="92" y="15"/>
                  </a:cubicBezTo>
                  <a:cubicBezTo>
                    <a:pt x="96" y="15"/>
                    <a:pt x="99" y="18"/>
                    <a:pt x="99" y="24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89" y="36"/>
                    <a:pt x="89" y="36"/>
                    <a:pt x="89" y="36"/>
                  </a:cubicBezTo>
                  <a:cubicBezTo>
                    <a:pt x="89" y="48"/>
                    <a:pt x="89" y="48"/>
                    <a:pt x="89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4"/>
            <p:cNvSpPr>
              <a:spLocks noEditPoints="1"/>
            </p:cNvSpPr>
            <p:nvPr/>
          </p:nvSpPr>
          <p:spPr bwMode="auto">
            <a:xfrm>
              <a:off x="3106739" y="2153058"/>
              <a:ext cx="277813" cy="119063"/>
            </a:xfrm>
            <a:custGeom>
              <a:avLst/>
              <a:gdLst/>
              <a:ahLst/>
              <a:cxnLst>
                <a:cxn ang="0">
                  <a:pos x="11" y="14"/>
                </a:cxn>
                <a:cxn ang="0">
                  <a:pos x="10" y="56"/>
                </a:cxn>
                <a:cxn ang="0">
                  <a:pos x="0" y="14"/>
                </a:cxn>
                <a:cxn ang="0">
                  <a:pos x="7" y="33"/>
                </a:cxn>
                <a:cxn ang="0">
                  <a:pos x="8" y="33"/>
                </a:cxn>
                <a:cxn ang="0">
                  <a:pos x="19" y="7"/>
                </a:cxn>
                <a:cxn ang="0">
                  <a:pos x="23" y="0"/>
                </a:cxn>
                <a:cxn ang="0">
                  <a:pos x="23" y="56"/>
                </a:cxn>
                <a:cxn ang="0">
                  <a:pos x="19" y="14"/>
                </a:cxn>
                <a:cxn ang="0">
                  <a:pos x="23" y="56"/>
                </a:cxn>
                <a:cxn ang="0">
                  <a:pos x="35" y="19"/>
                </a:cxn>
                <a:cxn ang="0">
                  <a:pos x="33" y="56"/>
                </a:cxn>
                <a:cxn ang="0">
                  <a:pos x="28" y="14"/>
                </a:cxn>
                <a:cxn ang="0">
                  <a:pos x="33" y="16"/>
                </a:cxn>
                <a:cxn ang="0">
                  <a:pos x="42" y="24"/>
                </a:cxn>
                <a:cxn ang="0">
                  <a:pos x="37" y="56"/>
                </a:cxn>
                <a:cxn ang="0">
                  <a:pos x="56" y="37"/>
                </a:cxn>
                <a:cxn ang="0">
                  <a:pos x="53" y="39"/>
                </a:cxn>
                <a:cxn ang="0">
                  <a:pos x="51" y="48"/>
                </a:cxn>
                <a:cxn ang="0">
                  <a:pos x="56" y="48"/>
                </a:cxn>
                <a:cxn ang="0">
                  <a:pos x="47" y="43"/>
                </a:cxn>
                <a:cxn ang="0">
                  <a:pos x="53" y="33"/>
                </a:cxn>
                <a:cxn ang="0">
                  <a:pos x="56" y="22"/>
                </a:cxn>
                <a:cxn ang="0">
                  <a:pos x="52" y="22"/>
                </a:cxn>
                <a:cxn ang="0">
                  <a:pos x="47" y="30"/>
                </a:cxn>
                <a:cxn ang="0">
                  <a:pos x="54" y="14"/>
                </a:cxn>
                <a:cxn ang="0">
                  <a:pos x="61" y="56"/>
                </a:cxn>
                <a:cxn ang="0">
                  <a:pos x="56" y="53"/>
                </a:cxn>
                <a:cxn ang="0">
                  <a:pos x="47" y="46"/>
                </a:cxn>
                <a:cxn ang="0">
                  <a:pos x="65" y="0"/>
                </a:cxn>
                <a:cxn ang="0">
                  <a:pos x="70" y="33"/>
                </a:cxn>
                <a:cxn ang="0">
                  <a:pos x="76" y="14"/>
                </a:cxn>
                <a:cxn ang="0">
                  <a:pos x="74" y="35"/>
                </a:cxn>
                <a:cxn ang="0">
                  <a:pos x="76" y="56"/>
                </a:cxn>
                <a:cxn ang="0">
                  <a:pos x="70" y="37"/>
                </a:cxn>
                <a:cxn ang="0">
                  <a:pos x="65" y="56"/>
                </a:cxn>
                <a:cxn ang="0">
                  <a:pos x="94" y="37"/>
                </a:cxn>
                <a:cxn ang="0">
                  <a:pos x="90" y="39"/>
                </a:cxn>
                <a:cxn ang="0">
                  <a:pos x="89" y="48"/>
                </a:cxn>
                <a:cxn ang="0">
                  <a:pos x="94" y="48"/>
                </a:cxn>
                <a:cxn ang="0">
                  <a:pos x="84" y="43"/>
                </a:cxn>
                <a:cxn ang="0">
                  <a:pos x="91" y="33"/>
                </a:cxn>
                <a:cxn ang="0">
                  <a:pos x="94" y="22"/>
                </a:cxn>
                <a:cxn ang="0">
                  <a:pos x="89" y="22"/>
                </a:cxn>
                <a:cxn ang="0">
                  <a:pos x="84" y="30"/>
                </a:cxn>
                <a:cxn ang="0">
                  <a:pos x="92" y="14"/>
                </a:cxn>
                <a:cxn ang="0">
                  <a:pos x="98" y="56"/>
                </a:cxn>
                <a:cxn ang="0">
                  <a:pos x="94" y="53"/>
                </a:cxn>
                <a:cxn ang="0">
                  <a:pos x="84" y="46"/>
                </a:cxn>
              </a:cxnLst>
              <a:rect l="0" t="0" r="r" b="b"/>
              <a:pathLst>
                <a:path w="98" h="56">
                  <a:moveTo>
                    <a:pt x="8" y="33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41"/>
                    <a:pt x="8" y="41"/>
                    <a:pt x="8" y="41"/>
                  </a:cubicBezTo>
                  <a:lnTo>
                    <a:pt x="8" y="33"/>
                  </a:lnTo>
                  <a:close/>
                  <a:moveTo>
                    <a:pt x="23" y="7"/>
                  </a:moveTo>
                  <a:cubicBezTo>
                    <a:pt x="19" y="7"/>
                    <a:pt x="19" y="7"/>
                    <a:pt x="19" y="7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7"/>
                  </a:lnTo>
                  <a:close/>
                  <a:moveTo>
                    <a:pt x="23" y="56"/>
                  </a:moveTo>
                  <a:cubicBezTo>
                    <a:pt x="19" y="56"/>
                    <a:pt x="19" y="56"/>
                    <a:pt x="19" y="56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56"/>
                  </a:lnTo>
                  <a:close/>
                  <a:moveTo>
                    <a:pt x="37" y="22"/>
                  </a:moveTo>
                  <a:cubicBezTo>
                    <a:pt x="37" y="20"/>
                    <a:pt x="36" y="19"/>
                    <a:pt x="35" y="19"/>
                  </a:cubicBezTo>
                  <a:cubicBezTo>
                    <a:pt x="33" y="19"/>
                    <a:pt x="33" y="20"/>
                    <a:pt x="33" y="22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5"/>
                    <a:pt x="34" y="14"/>
                    <a:pt x="36" y="14"/>
                  </a:cubicBezTo>
                  <a:cubicBezTo>
                    <a:pt x="40" y="14"/>
                    <a:pt x="42" y="18"/>
                    <a:pt x="42" y="24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22"/>
                    <a:pt x="37" y="22"/>
                    <a:pt x="37" y="22"/>
                  </a:cubicBezTo>
                  <a:close/>
                  <a:moveTo>
                    <a:pt x="56" y="37"/>
                  </a:moveTo>
                  <a:cubicBezTo>
                    <a:pt x="56" y="37"/>
                    <a:pt x="55" y="38"/>
                    <a:pt x="54" y="38"/>
                  </a:cubicBezTo>
                  <a:cubicBezTo>
                    <a:pt x="54" y="38"/>
                    <a:pt x="53" y="39"/>
                    <a:pt x="53" y="39"/>
                  </a:cubicBezTo>
                  <a:cubicBezTo>
                    <a:pt x="52" y="40"/>
                    <a:pt x="51" y="41"/>
                    <a:pt x="51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50"/>
                    <a:pt x="52" y="51"/>
                    <a:pt x="53" y="51"/>
                  </a:cubicBezTo>
                  <a:cubicBezTo>
                    <a:pt x="55" y="51"/>
                    <a:pt x="56" y="50"/>
                    <a:pt x="56" y="48"/>
                  </a:cubicBezTo>
                  <a:cubicBezTo>
                    <a:pt x="56" y="37"/>
                    <a:pt x="56" y="37"/>
                    <a:pt x="56" y="37"/>
                  </a:cubicBezTo>
                  <a:close/>
                  <a:moveTo>
                    <a:pt x="47" y="43"/>
                  </a:moveTo>
                  <a:cubicBezTo>
                    <a:pt x="47" y="39"/>
                    <a:pt x="48" y="37"/>
                    <a:pt x="50" y="35"/>
                  </a:cubicBezTo>
                  <a:cubicBezTo>
                    <a:pt x="52" y="34"/>
                    <a:pt x="53" y="33"/>
                    <a:pt x="53" y="33"/>
                  </a:cubicBezTo>
                  <a:cubicBezTo>
                    <a:pt x="54" y="32"/>
                    <a:pt x="56" y="32"/>
                    <a:pt x="56" y="31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0"/>
                    <a:pt x="56" y="19"/>
                    <a:pt x="54" y="19"/>
                  </a:cubicBezTo>
                  <a:cubicBezTo>
                    <a:pt x="53" y="19"/>
                    <a:pt x="52" y="20"/>
                    <a:pt x="52" y="22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18"/>
                    <a:pt x="49" y="14"/>
                    <a:pt x="54" y="14"/>
                  </a:cubicBezTo>
                  <a:cubicBezTo>
                    <a:pt x="58" y="14"/>
                    <a:pt x="61" y="18"/>
                    <a:pt x="61" y="24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5"/>
                    <a:pt x="54" y="56"/>
                    <a:pt x="52" y="56"/>
                  </a:cubicBezTo>
                  <a:cubicBezTo>
                    <a:pt x="48" y="56"/>
                    <a:pt x="47" y="52"/>
                    <a:pt x="47" y="46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65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33"/>
                    <a:pt x="70" y="33"/>
                    <a:pt x="70" y="33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5" y="56"/>
                    <a:pt x="65" y="56"/>
                    <a:pt x="65" y="56"/>
                  </a:cubicBezTo>
                  <a:lnTo>
                    <a:pt x="65" y="0"/>
                  </a:lnTo>
                  <a:close/>
                  <a:moveTo>
                    <a:pt x="94" y="37"/>
                  </a:moveTo>
                  <a:cubicBezTo>
                    <a:pt x="93" y="37"/>
                    <a:pt x="92" y="38"/>
                    <a:pt x="92" y="38"/>
                  </a:cubicBezTo>
                  <a:cubicBezTo>
                    <a:pt x="91" y="38"/>
                    <a:pt x="91" y="39"/>
                    <a:pt x="90" y="39"/>
                  </a:cubicBezTo>
                  <a:cubicBezTo>
                    <a:pt x="89" y="40"/>
                    <a:pt x="89" y="41"/>
                    <a:pt x="89" y="43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50"/>
                    <a:pt x="89" y="51"/>
                    <a:pt x="91" y="51"/>
                  </a:cubicBezTo>
                  <a:cubicBezTo>
                    <a:pt x="93" y="51"/>
                    <a:pt x="94" y="50"/>
                    <a:pt x="94" y="48"/>
                  </a:cubicBezTo>
                  <a:lnTo>
                    <a:pt x="94" y="37"/>
                  </a:lnTo>
                  <a:close/>
                  <a:moveTo>
                    <a:pt x="84" y="43"/>
                  </a:moveTo>
                  <a:cubicBezTo>
                    <a:pt x="84" y="39"/>
                    <a:pt x="85" y="37"/>
                    <a:pt x="88" y="35"/>
                  </a:cubicBezTo>
                  <a:cubicBezTo>
                    <a:pt x="89" y="34"/>
                    <a:pt x="90" y="33"/>
                    <a:pt x="91" y="33"/>
                  </a:cubicBezTo>
                  <a:cubicBezTo>
                    <a:pt x="92" y="32"/>
                    <a:pt x="93" y="32"/>
                    <a:pt x="94" y="31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0"/>
                    <a:pt x="93" y="19"/>
                    <a:pt x="92" y="19"/>
                  </a:cubicBezTo>
                  <a:cubicBezTo>
                    <a:pt x="90" y="19"/>
                    <a:pt x="89" y="20"/>
                    <a:pt x="89" y="22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8"/>
                    <a:pt x="87" y="14"/>
                    <a:pt x="92" y="14"/>
                  </a:cubicBezTo>
                  <a:cubicBezTo>
                    <a:pt x="96" y="14"/>
                    <a:pt x="98" y="18"/>
                    <a:pt x="98" y="24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3" y="55"/>
                    <a:pt x="92" y="56"/>
                    <a:pt x="90" y="56"/>
                  </a:cubicBezTo>
                  <a:cubicBezTo>
                    <a:pt x="86" y="56"/>
                    <a:pt x="84" y="52"/>
                    <a:pt x="84" y="46"/>
                  </a:cubicBezTo>
                  <a:cubicBezTo>
                    <a:pt x="84" y="43"/>
                    <a:pt x="84" y="43"/>
                    <a:pt x="84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5"/>
            <p:cNvSpPr>
              <a:spLocks noEditPoints="1"/>
            </p:cNvSpPr>
            <p:nvPr/>
          </p:nvSpPr>
          <p:spPr bwMode="auto">
            <a:xfrm>
              <a:off x="1393827" y="3338921"/>
              <a:ext cx="277813" cy="119063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26"/>
                </a:cxn>
                <a:cxn ang="0">
                  <a:pos x="14" y="46"/>
                </a:cxn>
                <a:cxn ang="0">
                  <a:pos x="0" y="45"/>
                </a:cxn>
                <a:cxn ang="0">
                  <a:pos x="5" y="43"/>
                </a:cxn>
                <a:cxn ang="0">
                  <a:pos x="7" y="51"/>
                </a:cxn>
                <a:cxn ang="0">
                  <a:pos x="9" y="45"/>
                </a:cxn>
                <a:cxn ang="0">
                  <a:pos x="0" y="25"/>
                </a:cxn>
                <a:cxn ang="0">
                  <a:pos x="14" y="25"/>
                </a:cxn>
                <a:cxn ang="0">
                  <a:pos x="9" y="29"/>
                </a:cxn>
                <a:cxn ang="0">
                  <a:pos x="27" y="22"/>
                </a:cxn>
                <a:cxn ang="0">
                  <a:pos x="23" y="22"/>
                </a:cxn>
                <a:cxn ang="0">
                  <a:pos x="25" y="51"/>
                </a:cxn>
                <a:cxn ang="0">
                  <a:pos x="27" y="22"/>
                </a:cxn>
                <a:cxn ang="0">
                  <a:pos x="25" y="56"/>
                </a:cxn>
                <a:cxn ang="0">
                  <a:pos x="18" y="24"/>
                </a:cxn>
                <a:cxn ang="0">
                  <a:pos x="33" y="24"/>
                </a:cxn>
                <a:cxn ang="0">
                  <a:pos x="47" y="22"/>
                </a:cxn>
                <a:cxn ang="0">
                  <a:pos x="42" y="22"/>
                </a:cxn>
                <a:cxn ang="0">
                  <a:pos x="44" y="51"/>
                </a:cxn>
                <a:cxn ang="0">
                  <a:pos x="47" y="22"/>
                </a:cxn>
                <a:cxn ang="0">
                  <a:pos x="42" y="0"/>
                </a:cxn>
                <a:cxn ang="0">
                  <a:pos x="45" y="15"/>
                </a:cxn>
                <a:cxn ang="0">
                  <a:pos x="51" y="46"/>
                </a:cxn>
                <a:cxn ang="0">
                  <a:pos x="40" y="53"/>
                </a:cxn>
                <a:cxn ang="0">
                  <a:pos x="37" y="56"/>
                </a:cxn>
                <a:cxn ang="0">
                  <a:pos x="66" y="22"/>
                </a:cxn>
                <a:cxn ang="0">
                  <a:pos x="61" y="22"/>
                </a:cxn>
                <a:cxn ang="0">
                  <a:pos x="63" y="51"/>
                </a:cxn>
                <a:cxn ang="0">
                  <a:pos x="66" y="22"/>
                </a:cxn>
                <a:cxn ang="0">
                  <a:pos x="63" y="56"/>
                </a:cxn>
                <a:cxn ang="0">
                  <a:pos x="56" y="24"/>
                </a:cxn>
                <a:cxn ang="0">
                  <a:pos x="70" y="24"/>
                </a:cxn>
                <a:cxn ang="0">
                  <a:pos x="80" y="48"/>
                </a:cxn>
                <a:cxn ang="0">
                  <a:pos x="84" y="48"/>
                </a:cxn>
                <a:cxn ang="0">
                  <a:pos x="82" y="20"/>
                </a:cxn>
                <a:cxn ang="0">
                  <a:pos x="80" y="48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5" y="24"/>
                </a:cxn>
                <a:cxn ang="0">
                  <a:pos x="84" y="16"/>
                </a:cxn>
                <a:cxn ang="0">
                  <a:pos x="89" y="0"/>
                </a:cxn>
                <a:cxn ang="0">
                  <a:pos x="98" y="8"/>
                </a:cxn>
                <a:cxn ang="0">
                  <a:pos x="94" y="0"/>
                </a:cxn>
                <a:cxn ang="0">
                  <a:pos x="98" y="8"/>
                </a:cxn>
                <a:cxn ang="0">
                  <a:pos x="94" y="56"/>
                </a:cxn>
                <a:cxn ang="0">
                  <a:pos x="98" y="15"/>
                </a:cxn>
              </a:cxnLst>
              <a:rect l="0" t="0" r="r" b="b"/>
              <a:pathLst>
                <a:path w="98" h="56">
                  <a:moveTo>
                    <a:pt x="9" y="22"/>
                  </a:moveTo>
                  <a:cubicBezTo>
                    <a:pt x="9" y="20"/>
                    <a:pt x="8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8"/>
                    <a:pt x="7" y="31"/>
                    <a:pt x="9" y="34"/>
                  </a:cubicBezTo>
                  <a:cubicBezTo>
                    <a:pt x="13" y="38"/>
                    <a:pt x="14" y="42"/>
                    <a:pt x="14" y="46"/>
                  </a:cubicBezTo>
                  <a:cubicBezTo>
                    <a:pt x="14" y="52"/>
                    <a:pt x="12" y="56"/>
                    <a:pt x="7" y="56"/>
                  </a:cubicBezTo>
                  <a:cubicBezTo>
                    <a:pt x="3" y="56"/>
                    <a:pt x="0" y="52"/>
                    <a:pt x="0" y="4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50"/>
                    <a:pt x="6" y="51"/>
                    <a:pt x="7" y="51"/>
                  </a:cubicBezTo>
                  <a:cubicBezTo>
                    <a:pt x="8" y="51"/>
                    <a:pt x="9" y="50"/>
                    <a:pt x="9" y="49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2"/>
                    <a:pt x="8" y="40"/>
                    <a:pt x="5" y="36"/>
                  </a:cubicBezTo>
                  <a:cubicBezTo>
                    <a:pt x="2" y="33"/>
                    <a:pt x="0" y="29"/>
                    <a:pt x="0" y="25"/>
                  </a:cubicBezTo>
                  <a:cubicBezTo>
                    <a:pt x="0" y="18"/>
                    <a:pt x="3" y="15"/>
                    <a:pt x="7" y="15"/>
                  </a:cubicBezTo>
                  <a:cubicBezTo>
                    <a:pt x="12" y="15"/>
                    <a:pt x="14" y="18"/>
                    <a:pt x="14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9" y="29"/>
                    <a:pt x="9" y="29"/>
                    <a:pt x="9" y="29"/>
                  </a:cubicBezTo>
                  <a:lnTo>
                    <a:pt x="9" y="22"/>
                  </a:lnTo>
                  <a:close/>
                  <a:moveTo>
                    <a:pt x="27" y="22"/>
                  </a:moveTo>
                  <a:cubicBezTo>
                    <a:pt x="27" y="20"/>
                    <a:pt x="27" y="20"/>
                    <a:pt x="25" y="20"/>
                  </a:cubicBezTo>
                  <a:cubicBezTo>
                    <a:pt x="24" y="20"/>
                    <a:pt x="23" y="20"/>
                    <a:pt x="23" y="22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50"/>
                    <a:pt x="24" y="51"/>
                    <a:pt x="25" y="51"/>
                  </a:cubicBezTo>
                  <a:cubicBezTo>
                    <a:pt x="27" y="51"/>
                    <a:pt x="27" y="50"/>
                    <a:pt x="27" y="48"/>
                  </a:cubicBezTo>
                  <a:lnTo>
                    <a:pt x="27" y="22"/>
                  </a:lnTo>
                  <a:close/>
                  <a:moveTo>
                    <a:pt x="33" y="46"/>
                  </a:moveTo>
                  <a:cubicBezTo>
                    <a:pt x="33" y="52"/>
                    <a:pt x="30" y="56"/>
                    <a:pt x="25" y="56"/>
                  </a:cubicBezTo>
                  <a:cubicBezTo>
                    <a:pt x="20" y="56"/>
                    <a:pt x="18" y="52"/>
                    <a:pt x="18" y="46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18"/>
                    <a:pt x="20" y="15"/>
                    <a:pt x="25" y="15"/>
                  </a:cubicBezTo>
                  <a:cubicBezTo>
                    <a:pt x="30" y="15"/>
                    <a:pt x="33" y="18"/>
                    <a:pt x="33" y="24"/>
                  </a:cubicBezTo>
                  <a:lnTo>
                    <a:pt x="33" y="46"/>
                  </a:lnTo>
                  <a:close/>
                  <a:moveTo>
                    <a:pt x="47" y="22"/>
                  </a:moveTo>
                  <a:cubicBezTo>
                    <a:pt x="47" y="20"/>
                    <a:pt x="45" y="20"/>
                    <a:pt x="44" y="20"/>
                  </a:cubicBezTo>
                  <a:cubicBezTo>
                    <a:pt x="43" y="20"/>
                    <a:pt x="42" y="20"/>
                    <a:pt x="42" y="22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50"/>
                    <a:pt x="43" y="51"/>
                    <a:pt x="44" y="51"/>
                  </a:cubicBezTo>
                  <a:cubicBezTo>
                    <a:pt x="46" y="51"/>
                    <a:pt x="47" y="50"/>
                    <a:pt x="47" y="48"/>
                  </a:cubicBezTo>
                  <a:lnTo>
                    <a:pt x="47" y="22"/>
                  </a:lnTo>
                  <a:close/>
                  <a:moveTo>
                    <a:pt x="37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5"/>
                    <a:pt x="44" y="15"/>
                    <a:pt x="45" y="15"/>
                  </a:cubicBezTo>
                  <a:cubicBezTo>
                    <a:pt x="49" y="15"/>
                    <a:pt x="51" y="18"/>
                    <a:pt x="51" y="2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52"/>
                    <a:pt x="49" y="56"/>
                    <a:pt x="45" y="56"/>
                  </a:cubicBezTo>
                  <a:cubicBezTo>
                    <a:pt x="43" y="56"/>
                    <a:pt x="41" y="55"/>
                    <a:pt x="40" y="53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7" y="56"/>
                    <a:pt x="37" y="56"/>
                    <a:pt x="37" y="56"/>
                  </a:cubicBezTo>
                  <a:lnTo>
                    <a:pt x="37" y="0"/>
                  </a:lnTo>
                  <a:close/>
                  <a:moveTo>
                    <a:pt x="66" y="22"/>
                  </a:moveTo>
                  <a:cubicBezTo>
                    <a:pt x="66" y="20"/>
                    <a:pt x="65" y="20"/>
                    <a:pt x="63" y="20"/>
                  </a:cubicBezTo>
                  <a:cubicBezTo>
                    <a:pt x="61" y="20"/>
                    <a:pt x="61" y="20"/>
                    <a:pt x="61" y="22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50"/>
                    <a:pt x="61" y="51"/>
                    <a:pt x="63" y="51"/>
                  </a:cubicBezTo>
                  <a:cubicBezTo>
                    <a:pt x="65" y="51"/>
                    <a:pt x="66" y="50"/>
                    <a:pt x="66" y="48"/>
                  </a:cubicBezTo>
                  <a:lnTo>
                    <a:pt x="66" y="22"/>
                  </a:lnTo>
                  <a:close/>
                  <a:moveTo>
                    <a:pt x="70" y="46"/>
                  </a:moveTo>
                  <a:cubicBezTo>
                    <a:pt x="70" y="52"/>
                    <a:pt x="68" y="56"/>
                    <a:pt x="63" y="56"/>
                  </a:cubicBezTo>
                  <a:cubicBezTo>
                    <a:pt x="58" y="56"/>
                    <a:pt x="56" y="52"/>
                    <a:pt x="56" y="46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18"/>
                    <a:pt x="58" y="15"/>
                    <a:pt x="63" y="15"/>
                  </a:cubicBezTo>
                  <a:cubicBezTo>
                    <a:pt x="68" y="15"/>
                    <a:pt x="70" y="18"/>
                    <a:pt x="70" y="24"/>
                  </a:cubicBezTo>
                  <a:lnTo>
                    <a:pt x="70" y="46"/>
                  </a:lnTo>
                  <a:close/>
                  <a:moveTo>
                    <a:pt x="80" y="48"/>
                  </a:moveTo>
                  <a:cubicBezTo>
                    <a:pt x="80" y="50"/>
                    <a:pt x="80" y="51"/>
                    <a:pt x="82" y="51"/>
                  </a:cubicBezTo>
                  <a:cubicBezTo>
                    <a:pt x="84" y="51"/>
                    <a:pt x="84" y="50"/>
                    <a:pt x="84" y="48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0"/>
                    <a:pt x="84" y="20"/>
                    <a:pt x="82" y="20"/>
                  </a:cubicBezTo>
                  <a:cubicBezTo>
                    <a:pt x="80" y="20"/>
                    <a:pt x="80" y="20"/>
                    <a:pt x="80" y="22"/>
                  </a:cubicBezTo>
                  <a:lnTo>
                    <a:pt x="80" y="48"/>
                  </a:lnTo>
                  <a:close/>
                  <a:moveTo>
                    <a:pt x="89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3" y="55"/>
                    <a:pt x="81" y="56"/>
                    <a:pt x="80" y="56"/>
                  </a:cubicBezTo>
                  <a:cubicBezTo>
                    <a:pt x="76" y="56"/>
                    <a:pt x="75" y="52"/>
                    <a:pt x="75" y="46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18"/>
                    <a:pt x="76" y="15"/>
                    <a:pt x="80" y="15"/>
                  </a:cubicBezTo>
                  <a:cubicBezTo>
                    <a:pt x="83" y="15"/>
                    <a:pt x="84" y="15"/>
                    <a:pt x="84" y="16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9" y="0"/>
                    <a:pt x="89" y="0"/>
                    <a:pt x="89" y="0"/>
                  </a:cubicBezTo>
                  <a:lnTo>
                    <a:pt x="89" y="56"/>
                  </a:lnTo>
                  <a:close/>
                  <a:moveTo>
                    <a:pt x="98" y="8"/>
                  </a:moveTo>
                  <a:cubicBezTo>
                    <a:pt x="94" y="8"/>
                    <a:pt x="94" y="8"/>
                    <a:pt x="94" y="8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8" y="0"/>
                    <a:pt x="98" y="0"/>
                    <a:pt x="98" y="0"/>
                  </a:cubicBezTo>
                  <a:lnTo>
                    <a:pt x="98" y="8"/>
                  </a:lnTo>
                  <a:close/>
                  <a:moveTo>
                    <a:pt x="98" y="56"/>
                  </a:moveTo>
                  <a:cubicBezTo>
                    <a:pt x="94" y="56"/>
                    <a:pt x="94" y="56"/>
                    <a:pt x="94" y="56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98" y="15"/>
                    <a:pt x="98" y="15"/>
                    <a:pt x="98" y="15"/>
                  </a:cubicBezTo>
                  <a:cubicBezTo>
                    <a:pt x="98" y="56"/>
                    <a:pt x="98" y="56"/>
                    <a:pt x="98" y="56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auto">
            <a:xfrm>
              <a:off x="534988" y="2880531"/>
              <a:ext cx="274638" cy="116681"/>
            </a:xfrm>
            <a:custGeom>
              <a:avLst/>
              <a:gdLst/>
              <a:ahLst/>
              <a:cxnLst>
                <a:cxn ang="0">
                  <a:pos x="10" y="31"/>
                </a:cxn>
                <a:cxn ang="0">
                  <a:pos x="7" y="19"/>
                </a:cxn>
                <a:cxn ang="0">
                  <a:pos x="5" y="31"/>
                </a:cxn>
                <a:cxn ang="0">
                  <a:pos x="7" y="50"/>
                </a:cxn>
                <a:cxn ang="0">
                  <a:pos x="10" y="40"/>
                </a:cxn>
                <a:cxn ang="0">
                  <a:pos x="15" y="46"/>
                </a:cxn>
                <a:cxn ang="0">
                  <a:pos x="0" y="46"/>
                </a:cxn>
                <a:cxn ang="0">
                  <a:pos x="7" y="14"/>
                </a:cxn>
                <a:cxn ang="0">
                  <a:pos x="15" y="36"/>
                </a:cxn>
                <a:cxn ang="0">
                  <a:pos x="5" y="48"/>
                </a:cxn>
                <a:cxn ang="0">
                  <a:pos x="26" y="19"/>
                </a:cxn>
                <a:cxn ang="0">
                  <a:pos x="24" y="55"/>
                </a:cxn>
                <a:cxn ang="0">
                  <a:pos x="19" y="14"/>
                </a:cxn>
                <a:cxn ang="0">
                  <a:pos x="24" y="16"/>
                </a:cxn>
                <a:cxn ang="0">
                  <a:pos x="34" y="24"/>
                </a:cxn>
                <a:cxn ang="0">
                  <a:pos x="29" y="55"/>
                </a:cxn>
                <a:cxn ang="0">
                  <a:pos x="38" y="0"/>
                </a:cxn>
                <a:cxn ang="0">
                  <a:pos x="43" y="33"/>
                </a:cxn>
                <a:cxn ang="0">
                  <a:pos x="49" y="14"/>
                </a:cxn>
                <a:cxn ang="0">
                  <a:pos x="47" y="35"/>
                </a:cxn>
                <a:cxn ang="0">
                  <a:pos x="49" y="55"/>
                </a:cxn>
                <a:cxn ang="0">
                  <a:pos x="43" y="36"/>
                </a:cxn>
                <a:cxn ang="0">
                  <a:pos x="38" y="55"/>
                </a:cxn>
                <a:cxn ang="0">
                  <a:pos x="66" y="22"/>
                </a:cxn>
                <a:cxn ang="0">
                  <a:pos x="61" y="22"/>
                </a:cxn>
                <a:cxn ang="0">
                  <a:pos x="64" y="50"/>
                </a:cxn>
                <a:cxn ang="0">
                  <a:pos x="66" y="22"/>
                </a:cxn>
                <a:cxn ang="0">
                  <a:pos x="64" y="55"/>
                </a:cxn>
                <a:cxn ang="0">
                  <a:pos x="57" y="24"/>
                </a:cxn>
                <a:cxn ang="0">
                  <a:pos x="71" y="24"/>
                </a:cxn>
                <a:cxn ang="0">
                  <a:pos x="84" y="22"/>
                </a:cxn>
                <a:cxn ang="0">
                  <a:pos x="80" y="22"/>
                </a:cxn>
                <a:cxn ang="0">
                  <a:pos x="84" y="34"/>
                </a:cxn>
                <a:cxn ang="0">
                  <a:pos x="82" y="55"/>
                </a:cxn>
                <a:cxn ang="0">
                  <a:pos x="75" y="43"/>
                </a:cxn>
                <a:cxn ang="0">
                  <a:pos x="80" y="48"/>
                </a:cxn>
                <a:cxn ang="0">
                  <a:pos x="84" y="48"/>
                </a:cxn>
                <a:cxn ang="0">
                  <a:pos x="79" y="36"/>
                </a:cxn>
                <a:cxn ang="0">
                  <a:pos x="82" y="14"/>
                </a:cxn>
                <a:cxn ang="0">
                  <a:pos x="88" y="28"/>
                </a:cxn>
                <a:cxn ang="0">
                  <a:pos x="84" y="22"/>
                </a:cxn>
                <a:cxn ang="0">
                  <a:pos x="93" y="8"/>
                </a:cxn>
                <a:cxn ang="0">
                  <a:pos x="97" y="0"/>
                </a:cxn>
                <a:cxn ang="0">
                  <a:pos x="97" y="55"/>
                </a:cxn>
                <a:cxn ang="0">
                  <a:pos x="93" y="14"/>
                </a:cxn>
                <a:cxn ang="0">
                  <a:pos x="97" y="55"/>
                </a:cxn>
              </a:cxnLst>
              <a:rect l="0" t="0" r="r" b="b"/>
              <a:pathLst>
                <a:path w="97" h="55">
                  <a:moveTo>
                    <a:pt x="5" y="31"/>
                  </a:moveTo>
                  <a:cubicBezTo>
                    <a:pt x="10" y="31"/>
                    <a:pt x="10" y="31"/>
                    <a:pt x="10" y="31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lnTo>
                    <a:pt x="5" y="31"/>
                  </a:lnTo>
                  <a:close/>
                  <a:moveTo>
                    <a:pt x="5" y="48"/>
                  </a:move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50"/>
                    <a:pt x="10" y="4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52"/>
                    <a:pt x="12" y="55"/>
                    <a:pt x="7" y="55"/>
                  </a:cubicBezTo>
                  <a:cubicBezTo>
                    <a:pt x="3" y="55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7"/>
                    <a:pt x="3" y="14"/>
                    <a:pt x="7" y="14"/>
                  </a:cubicBezTo>
                  <a:cubicBezTo>
                    <a:pt x="12" y="14"/>
                    <a:pt x="15" y="17"/>
                    <a:pt x="15" y="24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5" y="36"/>
                    <a:pt x="5" y="36"/>
                    <a:pt x="5" y="36"/>
                  </a:cubicBezTo>
                  <a:lnTo>
                    <a:pt x="5" y="48"/>
                  </a:lnTo>
                  <a:close/>
                  <a:moveTo>
                    <a:pt x="29" y="22"/>
                  </a:moveTo>
                  <a:cubicBezTo>
                    <a:pt x="29" y="20"/>
                    <a:pt x="28" y="19"/>
                    <a:pt x="26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5" y="15"/>
                    <a:pt x="26" y="14"/>
                    <a:pt x="28" y="14"/>
                  </a:cubicBezTo>
                  <a:cubicBezTo>
                    <a:pt x="32" y="14"/>
                    <a:pt x="34" y="17"/>
                    <a:pt x="34" y="2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22"/>
                    <a:pt x="29" y="22"/>
                    <a:pt x="29" y="22"/>
                  </a:cubicBezTo>
                  <a:close/>
                  <a:moveTo>
                    <a:pt x="38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lnTo>
                    <a:pt x="38" y="0"/>
                  </a:lnTo>
                  <a:close/>
                  <a:moveTo>
                    <a:pt x="66" y="22"/>
                  </a:moveTo>
                  <a:cubicBezTo>
                    <a:pt x="66" y="20"/>
                    <a:pt x="65" y="19"/>
                    <a:pt x="64" y="19"/>
                  </a:cubicBezTo>
                  <a:cubicBezTo>
                    <a:pt x="62" y="19"/>
                    <a:pt x="61" y="20"/>
                    <a:pt x="61" y="22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9"/>
                    <a:pt x="62" y="50"/>
                    <a:pt x="64" y="50"/>
                  </a:cubicBezTo>
                  <a:cubicBezTo>
                    <a:pt x="66" y="50"/>
                    <a:pt x="66" y="50"/>
                    <a:pt x="66" y="48"/>
                  </a:cubicBezTo>
                  <a:lnTo>
                    <a:pt x="66" y="22"/>
                  </a:lnTo>
                  <a:close/>
                  <a:moveTo>
                    <a:pt x="71" y="46"/>
                  </a:moveTo>
                  <a:cubicBezTo>
                    <a:pt x="71" y="52"/>
                    <a:pt x="69" y="55"/>
                    <a:pt x="64" y="55"/>
                  </a:cubicBezTo>
                  <a:cubicBezTo>
                    <a:pt x="59" y="55"/>
                    <a:pt x="57" y="52"/>
                    <a:pt x="57" y="46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17"/>
                    <a:pt x="59" y="14"/>
                    <a:pt x="64" y="14"/>
                  </a:cubicBezTo>
                  <a:cubicBezTo>
                    <a:pt x="69" y="14"/>
                    <a:pt x="71" y="17"/>
                    <a:pt x="71" y="24"/>
                  </a:cubicBezTo>
                  <a:lnTo>
                    <a:pt x="71" y="46"/>
                  </a:lnTo>
                  <a:close/>
                  <a:moveTo>
                    <a:pt x="84" y="22"/>
                  </a:moveTo>
                  <a:cubicBezTo>
                    <a:pt x="84" y="20"/>
                    <a:pt x="83" y="19"/>
                    <a:pt x="82" y="19"/>
                  </a:cubicBezTo>
                  <a:cubicBezTo>
                    <a:pt x="80" y="19"/>
                    <a:pt x="80" y="20"/>
                    <a:pt x="80" y="22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8"/>
                    <a:pt x="82" y="31"/>
                    <a:pt x="84" y="34"/>
                  </a:cubicBezTo>
                  <a:cubicBezTo>
                    <a:pt x="87" y="38"/>
                    <a:pt x="89" y="41"/>
                    <a:pt x="89" y="45"/>
                  </a:cubicBezTo>
                  <a:cubicBezTo>
                    <a:pt x="89" y="52"/>
                    <a:pt x="87" y="55"/>
                    <a:pt x="82" y="55"/>
                  </a:cubicBezTo>
                  <a:cubicBezTo>
                    <a:pt x="78" y="55"/>
                    <a:pt x="75" y="52"/>
                    <a:pt x="75" y="45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50"/>
                    <a:pt x="80" y="51"/>
                    <a:pt x="82" y="51"/>
                  </a:cubicBezTo>
                  <a:cubicBezTo>
                    <a:pt x="83" y="51"/>
                    <a:pt x="84" y="50"/>
                    <a:pt x="84" y="48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2"/>
                    <a:pt x="83" y="39"/>
                    <a:pt x="79" y="36"/>
                  </a:cubicBezTo>
                  <a:cubicBezTo>
                    <a:pt x="76" y="32"/>
                    <a:pt x="75" y="29"/>
                    <a:pt x="75" y="25"/>
                  </a:cubicBezTo>
                  <a:cubicBezTo>
                    <a:pt x="75" y="18"/>
                    <a:pt x="78" y="14"/>
                    <a:pt x="82" y="14"/>
                  </a:cubicBezTo>
                  <a:cubicBezTo>
                    <a:pt x="86" y="14"/>
                    <a:pt x="88" y="18"/>
                    <a:pt x="88" y="25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2"/>
                    <a:pt x="84" y="22"/>
                    <a:pt x="84" y="22"/>
                  </a:cubicBezTo>
                  <a:close/>
                  <a:moveTo>
                    <a:pt x="97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8"/>
                  </a:lnTo>
                  <a:close/>
                  <a:moveTo>
                    <a:pt x="97" y="55"/>
                  </a:moveTo>
                  <a:cubicBezTo>
                    <a:pt x="93" y="55"/>
                    <a:pt x="93" y="55"/>
                    <a:pt x="93" y="55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7" y="55"/>
                    <a:pt x="97" y="55"/>
                    <a:pt x="97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67"/>
            <p:cNvSpPr>
              <a:spLocks noEditPoints="1"/>
            </p:cNvSpPr>
            <p:nvPr/>
          </p:nvSpPr>
          <p:spPr bwMode="auto">
            <a:xfrm>
              <a:off x="7640638" y="3006737"/>
              <a:ext cx="363538" cy="86916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14" y="41"/>
                </a:cxn>
                <a:cxn ang="0">
                  <a:pos x="9" y="8"/>
                </a:cxn>
                <a:cxn ang="0">
                  <a:pos x="4" y="8"/>
                </a:cxn>
                <a:cxn ang="0">
                  <a:pos x="0" y="41"/>
                </a:cxn>
                <a:cxn ang="0">
                  <a:pos x="4" y="0"/>
                </a:cxn>
                <a:cxn ang="0">
                  <a:pos x="9" y="0"/>
                </a:cxn>
                <a:cxn ang="0">
                  <a:pos x="18" y="0"/>
                </a:cxn>
                <a:cxn ang="0">
                  <a:pos x="24" y="41"/>
                </a:cxn>
                <a:cxn ang="0">
                  <a:pos x="19" y="8"/>
                </a:cxn>
                <a:cxn ang="0">
                  <a:pos x="36" y="24"/>
                </a:cxn>
                <a:cxn ang="0">
                  <a:pos x="33" y="29"/>
                </a:cxn>
                <a:cxn ang="0">
                  <a:pos x="35" y="36"/>
                </a:cxn>
                <a:cxn ang="0">
                  <a:pos x="38" y="23"/>
                </a:cxn>
                <a:cxn ang="0">
                  <a:pos x="32" y="21"/>
                </a:cxn>
                <a:cxn ang="0">
                  <a:pos x="38" y="17"/>
                </a:cxn>
                <a:cxn ang="0">
                  <a:pos x="36" y="5"/>
                </a:cxn>
                <a:cxn ang="0">
                  <a:pos x="33" y="16"/>
                </a:cxn>
                <a:cxn ang="0">
                  <a:pos x="29" y="10"/>
                </a:cxn>
                <a:cxn ang="0">
                  <a:pos x="42" y="10"/>
                </a:cxn>
                <a:cxn ang="0">
                  <a:pos x="38" y="41"/>
                </a:cxn>
                <a:cxn ang="0">
                  <a:pos x="34" y="41"/>
                </a:cxn>
                <a:cxn ang="0">
                  <a:pos x="28" y="29"/>
                </a:cxn>
                <a:cxn ang="0">
                  <a:pos x="64" y="5"/>
                </a:cxn>
                <a:cxn ang="0">
                  <a:pos x="61" y="41"/>
                </a:cxn>
                <a:cxn ang="0">
                  <a:pos x="56" y="8"/>
                </a:cxn>
                <a:cxn ang="0">
                  <a:pos x="52" y="8"/>
                </a:cxn>
                <a:cxn ang="0">
                  <a:pos x="47" y="41"/>
                </a:cxn>
                <a:cxn ang="0">
                  <a:pos x="52" y="0"/>
                </a:cxn>
                <a:cxn ang="0">
                  <a:pos x="56" y="0"/>
                </a:cxn>
                <a:cxn ang="0">
                  <a:pos x="65" y="0"/>
                </a:cxn>
                <a:cxn ang="0">
                  <a:pos x="71" y="41"/>
                </a:cxn>
                <a:cxn ang="0">
                  <a:pos x="66" y="8"/>
                </a:cxn>
                <a:cxn ang="0">
                  <a:pos x="83" y="5"/>
                </a:cxn>
                <a:cxn ang="0">
                  <a:pos x="80" y="41"/>
                </a:cxn>
                <a:cxn ang="0">
                  <a:pos x="75" y="0"/>
                </a:cxn>
                <a:cxn ang="0">
                  <a:pos x="80" y="2"/>
                </a:cxn>
                <a:cxn ang="0">
                  <a:pos x="90" y="10"/>
                </a:cxn>
                <a:cxn ang="0">
                  <a:pos x="85" y="41"/>
                </a:cxn>
                <a:cxn ang="0">
                  <a:pos x="99" y="34"/>
                </a:cxn>
                <a:cxn ang="0">
                  <a:pos x="104" y="34"/>
                </a:cxn>
                <a:cxn ang="0">
                  <a:pos x="109" y="0"/>
                </a:cxn>
                <a:cxn ang="0">
                  <a:pos x="104" y="41"/>
                </a:cxn>
                <a:cxn ang="0">
                  <a:pos x="100" y="41"/>
                </a:cxn>
                <a:cxn ang="0">
                  <a:pos x="95" y="0"/>
                </a:cxn>
                <a:cxn ang="0">
                  <a:pos x="99" y="34"/>
                </a:cxn>
                <a:cxn ang="0">
                  <a:pos x="120" y="5"/>
                </a:cxn>
                <a:cxn ang="0">
                  <a:pos x="118" y="41"/>
                </a:cxn>
                <a:cxn ang="0">
                  <a:pos x="113" y="0"/>
                </a:cxn>
                <a:cxn ang="0">
                  <a:pos x="118" y="2"/>
                </a:cxn>
                <a:cxn ang="0">
                  <a:pos x="128" y="10"/>
                </a:cxn>
                <a:cxn ang="0">
                  <a:pos x="123" y="41"/>
                </a:cxn>
              </a:cxnLst>
              <a:rect l="0" t="0" r="r" b="b"/>
              <a:pathLst>
                <a:path w="128" h="41">
                  <a:moveTo>
                    <a:pt x="19" y="8"/>
                  </a:moveTo>
                  <a:cubicBezTo>
                    <a:pt x="19" y="6"/>
                    <a:pt x="18" y="5"/>
                    <a:pt x="16" y="5"/>
                  </a:cubicBezTo>
                  <a:cubicBezTo>
                    <a:pt x="15" y="5"/>
                    <a:pt x="14" y="6"/>
                    <a:pt x="14" y="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6"/>
                    <a:pt x="9" y="5"/>
                    <a:pt x="7" y="5"/>
                  </a:cubicBezTo>
                  <a:cubicBezTo>
                    <a:pt x="5" y="5"/>
                    <a:pt x="4" y="6"/>
                    <a:pt x="4" y="8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6" y="0"/>
                    <a:pt x="9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4" y="1"/>
                    <a:pt x="15" y="0"/>
                    <a:pt x="18" y="0"/>
                  </a:cubicBezTo>
                  <a:cubicBezTo>
                    <a:pt x="21" y="0"/>
                    <a:pt x="24" y="3"/>
                    <a:pt x="24" y="10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8"/>
                    <a:pt x="19" y="8"/>
                    <a:pt x="19" y="8"/>
                  </a:cubicBezTo>
                  <a:close/>
                  <a:moveTo>
                    <a:pt x="38" y="23"/>
                  </a:moveTo>
                  <a:cubicBezTo>
                    <a:pt x="37" y="23"/>
                    <a:pt x="37" y="23"/>
                    <a:pt x="36" y="24"/>
                  </a:cubicBezTo>
                  <a:cubicBezTo>
                    <a:pt x="36" y="25"/>
                    <a:pt x="35" y="25"/>
                    <a:pt x="34" y="25"/>
                  </a:cubicBezTo>
                  <a:cubicBezTo>
                    <a:pt x="33" y="26"/>
                    <a:pt x="33" y="27"/>
                    <a:pt x="33" y="29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6"/>
                    <a:pt x="33" y="36"/>
                    <a:pt x="35" y="36"/>
                  </a:cubicBezTo>
                  <a:cubicBezTo>
                    <a:pt x="37" y="36"/>
                    <a:pt x="38" y="36"/>
                    <a:pt x="38" y="34"/>
                  </a:cubicBezTo>
                  <a:lnTo>
                    <a:pt x="38" y="23"/>
                  </a:lnTo>
                  <a:close/>
                  <a:moveTo>
                    <a:pt x="28" y="29"/>
                  </a:moveTo>
                  <a:cubicBezTo>
                    <a:pt x="28" y="25"/>
                    <a:pt x="29" y="23"/>
                    <a:pt x="32" y="21"/>
                  </a:cubicBezTo>
                  <a:cubicBezTo>
                    <a:pt x="33" y="20"/>
                    <a:pt x="34" y="20"/>
                    <a:pt x="35" y="19"/>
                  </a:cubicBezTo>
                  <a:cubicBezTo>
                    <a:pt x="36" y="18"/>
                    <a:pt x="37" y="17"/>
                    <a:pt x="38" y="1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6"/>
                    <a:pt x="37" y="5"/>
                    <a:pt x="36" y="5"/>
                  </a:cubicBezTo>
                  <a:cubicBezTo>
                    <a:pt x="34" y="5"/>
                    <a:pt x="33" y="6"/>
                    <a:pt x="33" y="8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3"/>
                    <a:pt x="31" y="0"/>
                    <a:pt x="36" y="0"/>
                  </a:cubicBezTo>
                  <a:cubicBezTo>
                    <a:pt x="40" y="0"/>
                    <a:pt x="42" y="3"/>
                    <a:pt x="42" y="1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7" y="41"/>
                    <a:pt x="36" y="41"/>
                    <a:pt x="34" y="41"/>
                  </a:cubicBezTo>
                  <a:cubicBezTo>
                    <a:pt x="30" y="41"/>
                    <a:pt x="28" y="38"/>
                    <a:pt x="28" y="32"/>
                  </a:cubicBezTo>
                  <a:cubicBezTo>
                    <a:pt x="28" y="29"/>
                    <a:pt x="28" y="29"/>
                    <a:pt x="28" y="29"/>
                  </a:cubicBezTo>
                  <a:close/>
                  <a:moveTo>
                    <a:pt x="66" y="8"/>
                  </a:moveTo>
                  <a:cubicBezTo>
                    <a:pt x="66" y="6"/>
                    <a:pt x="65" y="5"/>
                    <a:pt x="64" y="5"/>
                  </a:cubicBezTo>
                  <a:cubicBezTo>
                    <a:pt x="62" y="5"/>
                    <a:pt x="61" y="6"/>
                    <a:pt x="61" y="8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6"/>
                    <a:pt x="56" y="5"/>
                    <a:pt x="54" y="5"/>
                  </a:cubicBezTo>
                  <a:cubicBezTo>
                    <a:pt x="52" y="5"/>
                    <a:pt x="52" y="6"/>
                    <a:pt x="52" y="8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2" y="1"/>
                    <a:pt x="54" y="0"/>
                    <a:pt x="56" y="0"/>
                  </a:cubicBezTo>
                  <a:cubicBezTo>
                    <a:pt x="57" y="0"/>
                    <a:pt x="59" y="1"/>
                    <a:pt x="60" y="3"/>
                  </a:cubicBezTo>
                  <a:cubicBezTo>
                    <a:pt x="61" y="1"/>
                    <a:pt x="63" y="0"/>
                    <a:pt x="65" y="0"/>
                  </a:cubicBezTo>
                  <a:cubicBezTo>
                    <a:pt x="69" y="0"/>
                    <a:pt x="71" y="3"/>
                    <a:pt x="71" y="10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8"/>
                    <a:pt x="66" y="8"/>
                    <a:pt x="66" y="8"/>
                  </a:cubicBezTo>
                  <a:close/>
                  <a:moveTo>
                    <a:pt x="85" y="8"/>
                  </a:moveTo>
                  <a:cubicBezTo>
                    <a:pt x="85" y="6"/>
                    <a:pt x="84" y="5"/>
                    <a:pt x="83" y="5"/>
                  </a:cubicBezTo>
                  <a:cubicBezTo>
                    <a:pt x="81" y="5"/>
                    <a:pt x="80" y="6"/>
                    <a:pt x="80" y="8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82" y="0"/>
                    <a:pt x="84" y="0"/>
                  </a:cubicBezTo>
                  <a:cubicBezTo>
                    <a:pt x="88" y="0"/>
                    <a:pt x="90" y="3"/>
                    <a:pt x="90" y="10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8"/>
                    <a:pt x="85" y="8"/>
                    <a:pt x="85" y="8"/>
                  </a:cubicBezTo>
                  <a:close/>
                  <a:moveTo>
                    <a:pt x="99" y="34"/>
                  </a:moveTo>
                  <a:cubicBezTo>
                    <a:pt x="99" y="35"/>
                    <a:pt x="100" y="36"/>
                    <a:pt x="101" y="36"/>
                  </a:cubicBezTo>
                  <a:cubicBezTo>
                    <a:pt x="103" y="36"/>
                    <a:pt x="104" y="36"/>
                    <a:pt x="104" y="34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4" y="40"/>
                    <a:pt x="104" y="40"/>
                    <a:pt x="104" y="40"/>
                  </a:cubicBezTo>
                  <a:cubicBezTo>
                    <a:pt x="104" y="41"/>
                    <a:pt x="102" y="41"/>
                    <a:pt x="100" y="41"/>
                  </a:cubicBezTo>
                  <a:cubicBezTo>
                    <a:pt x="96" y="41"/>
                    <a:pt x="95" y="38"/>
                    <a:pt x="95" y="32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34"/>
                    <a:pt x="99" y="34"/>
                    <a:pt x="99" y="34"/>
                  </a:cubicBezTo>
                  <a:close/>
                  <a:moveTo>
                    <a:pt x="123" y="8"/>
                  </a:moveTo>
                  <a:cubicBezTo>
                    <a:pt x="123" y="6"/>
                    <a:pt x="122" y="5"/>
                    <a:pt x="120" y="5"/>
                  </a:cubicBezTo>
                  <a:cubicBezTo>
                    <a:pt x="119" y="5"/>
                    <a:pt x="118" y="6"/>
                    <a:pt x="118" y="8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2"/>
                    <a:pt x="118" y="2"/>
                    <a:pt x="118" y="2"/>
                  </a:cubicBezTo>
                  <a:cubicBezTo>
                    <a:pt x="119" y="1"/>
                    <a:pt x="120" y="0"/>
                    <a:pt x="122" y="0"/>
                  </a:cubicBezTo>
                  <a:cubicBezTo>
                    <a:pt x="126" y="0"/>
                    <a:pt x="128" y="3"/>
                    <a:pt x="128" y="10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8"/>
                    <a:pt x="123" y="8"/>
                    <a:pt x="123" y="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8"/>
            <p:cNvSpPr>
              <a:spLocks noEditPoints="1"/>
            </p:cNvSpPr>
            <p:nvPr/>
          </p:nvSpPr>
          <p:spPr bwMode="auto">
            <a:xfrm>
              <a:off x="1314451" y="2350702"/>
              <a:ext cx="158750" cy="197644"/>
            </a:xfrm>
            <a:custGeom>
              <a:avLst/>
              <a:gdLst/>
              <a:ahLst/>
              <a:cxnLst>
                <a:cxn ang="0">
                  <a:pos x="20" y="86"/>
                </a:cxn>
                <a:cxn ang="0">
                  <a:pos x="56" y="88"/>
                </a:cxn>
                <a:cxn ang="0">
                  <a:pos x="14" y="93"/>
                </a:cxn>
                <a:cxn ang="0">
                  <a:pos x="16" y="88"/>
                </a:cxn>
                <a:cxn ang="0">
                  <a:pos x="25" y="78"/>
                </a:cxn>
                <a:cxn ang="0">
                  <a:pos x="56" y="84"/>
                </a:cxn>
                <a:cxn ang="0">
                  <a:pos x="37" y="64"/>
                </a:cxn>
                <a:cxn ang="0">
                  <a:pos x="39" y="68"/>
                </a:cxn>
                <a:cxn ang="0">
                  <a:pos x="48" y="69"/>
                </a:cxn>
                <a:cxn ang="0">
                  <a:pos x="48" y="64"/>
                </a:cxn>
                <a:cxn ang="0">
                  <a:pos x="43" y="74"/>
                </a:cxn>
                <a:cxn ang="0">
                  <a:pos x="33" y="67"/>
                </a:cxn>
                <a:cxn ang="0">
                  <a:pos x="22" y="64"/>
                </a:cxn>
                <a:cxn ang="0">
                  <a:pos x="22" y="69"/>
                </a:cxn>
                <a:cxn ang="0">
                  <a:pos x="30" y="73"/>
                </a:cxn>
                <a:cxn ang="0">
                  <a:pos x="14" y="67"/>
                </a:cxn>
                <a:cxn ang="0">
                  <a:pos x="56" y="60"/>
                </a:cxn>
                <a:cxn ang="0">
                  <a:pos x="54" y="64"/>
                </a:cxn>
                <a:cxn ang="0">
                  <a:pos x="46" y="74"/>
                </a:cxn>
                <a:cxn ang="0">
                  <a:pos x="22" y="46"/>
                </a:cxn>
                <a:cxn ang="0">
                  <a:pos x="22" y="50"/>
                </a:cxn>
                <a:cxn ang="0">
                  <a:pos x="56" y="55"/>
                </a:cxn>
                <a:cxn ang="0">
                  <a:pos x="14" y="50"/>
                </a:cxn>
                <a:cxn ang="0">
                  <a:pos x="14" y="46"/>
                </a:cxn>
                <a:cxn ang="0">
                  <a:pos x="56" y="41"/>
                </a:cxn>
                <a:cxn ang="0">
                  <a:pos x="22" y="46"/>
                </a:cxn>
                <a:cxn ang="0">
                  <a:pos x="51" y="29"/>
                </a:cxn>
                <a:cxn ang="0">
                  <a:pos x="22" y="27"/>
                </a:cxn>
                <a:cxn ang="0">
                  <a:pos x="22" y="32"/>
                </a:cxn>
                <a:cxn ang="0">
                  <a:pos x="56" y="22"/>
                </a:cxn>
                <a:cxn ang="0">
                  <a:pos x="54" y="27"/>
                </a:cxn>
                <a:cxn ang="0">
                  <a:pos x="46" y="36"/>
                </a:cxn>
                <a:cxn ang="0">
                  <a:pos x="14" y="31"/>
                </a:cxn>
                <a:cxn ang="0">
                  <a:pos x="0" y="27"/>
                </a:cxn>
                <a:cxn ang="0">
                  <a:pos x="56" y="22"/>
                </a:cxn>
                <a:cxn ang="0">
                  <a:pos x="14" y="9"/>
                </a:cxn>
                <a:cxn ang="0">
                  <a:pos x="20" y="10"/>
                </a:cxn>
                <a:cxn ang="0">
                  <a:pos x="56" y="13"/>
                </a:cxn>
                <a:cxn ang="0">
                  <a:pos x="14" y="18"/>
                </a:cxn>
                <a:cxn ang="0">
                  <a:pos x="16" y="13"/>
                </a:cxn>
                <a:cxn ang="0">
                  <a:pos x="8" y="5"/>
                </a:cxn>
                <a:cxn ang="0">
                  <a:pos x="0" y="0"/>
                </a:cxn>
                <a:cxn ang="0">
                  <a:pos x="56" y="0"/>
                </a:cxn>
                <a:cxn ang="0">
                  <a:pos x="14" y="5"/>
                </a:cxn>
                <a:cxn ang="0">
                  <a:pos x="56" y="0"/>
                </a:cxn>
              </a:cxnLst>
              <a:rect l="0" t="0" r="r" b="b"/>
              <a:pathLst>
                <a:path w="56" h="93">
                  <a:moveTo>
                    <a:pt x="22" y="84"/>
                  </a:moveTo>
                  <a:cubicBezTo>
                    <a:pt x="21" y="84"/>
                    <a:pt x="20" y="84"/>
                    <a:pt x="20" y="86"/>
                  </a:cubicBezTo>
                  <a:cubicBezTo>
                    <a:pt x="20" y="87"/>
                    <a:pt x="21" y="88"/>
                    <a:pt x="22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5" y="87"/>
                    <a:pt x="14" y="86"/>
                    <a:pt x="14" y="84"/>
                  </a:cubicBezTo>
                  <a:cubicBezTo>
                    <a:pt x="14" y="81"/>
                    <a:pt x="18" y="78"/>
                    <a:pt x="25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37" y="64"/>
                  </a:moveTo>
                  <a:cubicBezTo>
                    <a:pt x="37" y="65"/>
                    <a:pt x="38" y="66"/>
                    <a:pt x="38" y="66"/>
                  </a:cubicBezTo>
                  <a:cubicBezTo>
                    <a:pt x="39" y="67"/>
                    <a:pt x="39" y="67"/>
                    <a:pt x="39" y="68"/>
                  </a:cubicBezTo>
                  <a:cubicBezTo>
                    <a:pt x="40" y="69"/>
                    <a:pt x="41" y="69"/>
                    <a:pt x="44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50" y="69"/>
                    <a:pt x="51" y="69"/>
                    <a:pt x="51" y="67"/>
                  </a:cubicBezTo>
                  <a:cubicBezTo>
                    <a:pt x="51" y="66"/>
                    <a:pt x="50" y="64"/>
                    <a:pt x="48" y="64"/>
                  </a:cubicBezTo>
                  <a:cubicBezTo>
                    <a:pt x="37" y="64"/>
                    <a:pt x="37" y="64"/>
                    <a:pt x="37" y="64"/>
                  </a:cubicBezTo>
                  <a:close/>
                  <a:moveTo>
                    <a:pt x="43" y="74"/>
                  </a:moveTo>
                  <a:cubicBezTo>
                    <a:pt x="40" y="74"/>
                    <a:pt x="37" y="73"/>
                    <a:pt x="35" y="71"/>
                  </a:cubicBezTo>
                  <a:cubicBezTo>
                    <a:pt x="35" y="69"/>
                    <a:pt x="34" y="68"/>
                    <a:pt x="33" y="67"/>
                  </a:cubicBezTo>
                  <a:cubicBezTo>
                    <a:pt x="32" y="66"/>
                    <a:pt x="32" y="66"/>
                    <a:pt x="31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6"/>
                    <a:pt x="20" y="67"/>
                  </a:cubicBezTo>
                  <a:cubicBezTo>
                    <a:pt x="20" y="68"/>
                    <a:pt x="21" y="69"/>
                    <a:pt x="22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18" y="73"/>
                    <a:pt x="14" y="71"/>
                    <a:pt x="14" y="67"/>
                  </a:cubicBezTo>
                  <a:cubicBezTo>
                    <a:pt x="14" y="62"/>
                    <a:pt x="18" y="60"/>
                    <a:pt x="25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5" y="66"/>
                    <a:pt x="56" y="67"/>
                    <a:pt x="56" y="68"/>
                  </a:cubicBezTo>
                  <a:cubicBezTo>
                    <a:pt x="56" y="72"/>
                    <a:pt x="53" y="74"/>
                    <a:pt x="46" y="74"/>
                  </a:cubicBezTo>
                  <a:lnTo>
                    <a:pt x="43" y="74"/>
                  </a:lnTo>
                  <a:close/>
                  <a:moveTo>
                    <a:pt x="22" y="46"/>
                  </a:moveTo>
                  <a:cubicBezTo>
                    <a:pt x="21" y="46"/>
                    <a:pt x="20" y="46"/>
                    <a:pt x="20" y="48"/>
                  </a:cubicBezTo>
                  <a:cubicBezTo>
                    <a:pt x="20" y="50"/>
                    <a:pt x="21" y="50"/>
                    <a:pt x="22" y="50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5" y="50"/>
                    <a:pt x="14" y="49"/>
                    <a:pt x="14" y="46"/>
                  </a:cubicBezTo>
                  <a:cubicBezTo>
                    <a:pt x="14" y="43"/>
                    <a:pt x="18" y="41"/>
                    <a:pt x="25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22" y="46"/>
                    <a:pt x="22" y="46"/>
                    <a:pt x="22" y="46"/>
                  </a:cubicBezTo>
                  <a:close/>
                  <a:moveTo>
                    <a:pt x="48" y="32"/>
                  </a:moveTo>
                  <a:cubicBezTo>
                    <a:pt x="50" y="32"/>
                    <a:pt x="51" y="31"/>
                    <a:pt x="51" y="29"/>
                  </a:cubicBezTo>
                  <a:cubicBezTo>
                    <a:pt x="51" y="27"/>
                    <a:pt x="50" y="27"/>
                    <a:pt x="48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1" y="27"/>
                    <a:pt x="20" y="27"/>
                    <a:pt x="20" y="29"/>
                  </a:cubicBezTo>
                  <a:cubicBezTo>
                    <a:pt x="20" y="31"/>
                    <a:pt x="21" y="32"/>
                    <a:pt x="22" y="32"/>
                  </a:cubicBezTo>
                  <a:lnTo>
                    <a:pt x="48" y="32"/>
                  </a:lnTo>
                  <a:close/>
                  <a:moveTo>
                    <a:pt x="56" y="22"/>
                  </a:moveTo>
                  <a:cubicBezTo>
                    <a:pt x="56" y="27"/>
                    <a:pt x="56" y="27"/>
                    <a:pt x="56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5" y="28"/>
                    <a:pt x="56" y="30"/>
                    <a:pt x="56" y="31"/>
                  </a:cubicBezTo>
                  <a:cubicBezTo>
                    <a:pt x="56" y="35"/>
                    <a:pt x="53" y="36"/>
                    <a:pt x="46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18" y="36"/>
                    <a:pt x="14" y="35"/>
                    <a:pt x="14" y="31"/>
                  </a:cubicBezTo>
                  <a:cubicBezTo>
                    <a:pt x="14" y="29"/>
                    <a:pt x="15" y="27"/>
                    <a:pt x="16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56" y="22"/>
                  </a:lnTo>
                  <a:close/>
                  <a:moveTo>
                    <a:pt x="16" y="13"/>
                  </a:moveTo>
                  <a:cubicBezTo>
                    <a:pt x="15" y="12"/>
                    <a:pt x="14" y="11"/>
                    <a:pt x="14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0" y="9"/>
                    <a:pt x="20" y="9"/>
                    <a:pt x="20" y="10"/>
                  </a:cubicBezTo>
                  <a:cubicBezTo>
                    <a:pt x="20" y="12"/>
                    <a:pt x="21" y="13"/>
                    <a:pt x="22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3"/>
                    <a:pt x="14" y="13"/>
                    <a:pt x="14" y="13"/>
                  </a:cubicBezTo>
                  <a:lnTo>
                    <a:pt x="16" y="13"/>
                  </a:ln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9"/>
            <p:cNvSpPr>
              <a:spLocks noEditPoints="1"/>
            </p:cNvSpPr>
            <p:nvPr/>
          </p:nvSpPr>
          <p:spPr bwMode="auto">
            <a:xfrm>
              <a:off x="5465763" y="3791358"/>
              <a:ext cx="249238" cy="119063"/>
            </a:xfrm>
            <a:custGeom>
              <a:avLst/>
              <a:gdLst/>
              <a:ahLst/>
              <a:cxnLst>
                <a:cxn ang="0">
                  <a:pos x="6" y="51"/>
                </a:cxn>
                <a:cxn ang="0">
                  <a:pos x="9" y="23"/>
                </a:cxn>
                <a:cxn ang="0">
                  <a:pos x="4" y="23"/>
                </a:cxn>
                <a:cxn ang="0">
                  <a:pos x="14" y="56"/>
                </a:cxn>
                <a:cxn ang="0">
                  <a:pos x="9" y="54"/>
                </a:cxn>
                <a:cxn ang="0">
                  <a:pos x="0" y="46"/>
                </a:cxn>
                <a:cxn ang="0">
                  <a:pos x="5" y="15"/>
                </a:cxn>
                <a:cxn ang="0">
                  <a:pos x="9" y="0"/>
                </a:cxn>
                <a:cxn ang="0">
                  <a:pos x="14" y="56"/>
                </a:cxn>
                <a:cxn ang="0">
                  <a:pos x="18" y="8"/>
                </a:cxn>
                <a:cxn ang="0">
                  <a:pos x="23" y="0"/>
                </a:cxn>
                <a:cxn ang="0">
                  <a:pos x="23" y="56"/>
                </a:cxn>
                <a:cxn ang="0">
                  <a:pos x="18" y="15"/>
                </a:cxn>
                <a:cxn ang="0">
                  <a:pos x="23" y="56"/>
                </a:cxn>
                <a:cxn ang="0">
                  <a:pos x="34" y="20"/>
                </a:cxn>
                <a:cxn ang="0">
                  <a:pos x="32" y="48"/>
                </a:cxn>
                <a:cxn ang="0">
                  <a:pos x="37" y="48"/>
                </a:cxn>
                <a:cxn ang="0">
                  <a:pos x="42" y="46"/>
                </a:cxn>
                <a:cxn ang="0">
                  <a:pos x="28" y="46"/>
                </a:cxn>
                <a:cxn ang="0">
                  <a:pos x="34" y="15"/>
                </a:cxn>
                <a:cxn ang="0">
                  <a:pos x="42" y="46"/>
                </a:cxn>
                <a:cxn ang="0">
                  <a:pos x="51" y="0"/>
                </a:cxn>
                <a:cxn ang="0">
                  <a:pos x="46" y="56"/>
                </a:cxn>
                <a:cxn ang="0">
                  <a:pos x="64" y="23"/>
                </a:cxn>
                <a:cxn ang="0">
                  <a:pos x="59" y="23"/>
                </a:cxn>
                <a:cxn ang="0">
                  <a:pos x="61" y="51"/>
                </a:cxn>
                <a:cxn ang="0">
                  <a:pos x="64" y="40"/>
                </a:cxn>
                <a:cxn ang="0">
                  <a:pos x="69" y="46"/>
                </a:cxn>
                <a:cxn ang="0">
                  <a:pos x="55" y="46"/>
                </a:cxn>
                <a:cxn ang="0">
                  <a:pos x="61" y="15"/>
                </a:cxn>
                <a:cxn ang="0">
                  <a:pos x="69" y="30"/>
                </a:cxn>
                <a:cxn ang="0">
                  <a:pos x="64" y="23"/>
                </a:cxn>
                <a:cxn ang="0">
                  <a:pos x="80" y="20"/>
                </a:cxn>
                <a:cxn ang="0">
                  <a:pos x="78" y="56"/>
                </a:cxn>
                <a:cxn ang="0">
                  <a:pos x="73" y="0"/>
                </a:cxn>
                <a:cxn ang="0">
                  <a:pos x="78" y="16"/>
                </a:cxn>
                <a:cxn ang="0">
                  <a:pos x="88" y="24"/>
                </a:cxn>
                <a:cxn ang="0">
                  <a:pos x="83" y="56"/>
                </a:cxn>
              </a:cxnLst>
              <a:rect l="0" t="0" r="r" b="b"/>
              <a:pathLst>
                <a:path w="88" h="56">
                  <a:moveTo>
                    <a:pt x="4" y="48"/>
                  </a:moveTo>
                  <a:cubicBezTo>
                    <a:pt x="4" y="50"/>
                    <a:pt x="5" y="51"/>
                    <a:pt x="6" y="51"/>
                  </a:cubicBezTo>
                  <a:cubicBezTo>
                    <a:pt x="8" y="51"/>
                    <a:pt x="9" y="50"/>
                    <a:pt x="9" y="48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0"/>
                    <a:pt x="8" y="20"/>
                    <a:pt x="6" y="20"/>
                  </a:cubicBezTo>
                  <a:cubicBezTo>
                    <a:pt x="5" y="20"/>
                    <a:pt x="4" y="20"/>
                    <a:pt x="4" y="23"/>
                  </a:cubicBezTo>
                  <a:lnTo>
                    <a:pt x="4" y="48"/>
                  </a:lnTo>
                  <a:close/>
                  <a:moveTo>
                    <a:pt x="14" y="56"/>
                  </a:moveTo>
                  <a:cubicBezTo>
                    <a:pt x="9" y="56"/>
                    <a:pt x="9" y="56"/>
                    <a:pt x="9" y="56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7" y="55"/>
                    <a:pt x="6" y="56"/>
                    <a:pt x="5" y="56"/>
                  </a:cubicBezTo>
                  <a:cubicBezTo>
                    <a:pt x="1" y="56"/>
                    <a:pt x="0" y="52"/>
                    <a:pt x="0" y="4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8"/>
                    <a:pt x="1" y="15"/>
                    <a:pt x="5" y="15"/>
                  </a:cubicBezTo>
                  <a:cubicBezTo>
                    <a:pt x="7" y="15"/>
                    <a:pt x="9" y="15"/>
                    <a:pt x="9" y="1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4" y="56"/>
                  </a:lnTo>
                  <a:close/>
                  <a:moveTo>
                    <a:pt x="23" y="8"/>
                  </a:moveTo>
                  <a:cubicBezTo>
                    <a:pt x="18" y="8"/>
                    <a:pt x="18" y="8"/>
                    <a:pt x="18" y="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8"/>
                  </a:lnTo>
                  <a:close/>
                  <a:moveTo>
                    <a:pt x="23" y="56"/>
                  </a:moveTo>
                  <a:cubicBezTo>
                    <a:pt x="18" y="56"/>
                    <a:pt x="18" y="56"/>
                    <a:pt x="18" y="5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3" y="15"/>
                    <a:pt x="23" y="15"/>
                    <a:pt x="23" y="15"/>
                  </a:cubicBezTo>
                  <a:lnTo>
                    <a:pt x="23" y="56"/>
                  </a:lnTo>
                  <a:close/>
                  <a:moveTo>
                    <a:pt x="37" y="23"/>
                  </a:moveTo>
                  <a:cubicBezTo>
                    <a:pt x="37" y="20"/>
                    <a:pt x="36" y="20"/>
                    <a:pt x="34" y="20"/>
                  </a:cubicBezTo>
                  <a:cubicBezTo>
                    <a:pt x="33" y="20"/>
                    <a:pt x="32" y="20"/>
                    <a:pt x="32" y="23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50"/>
                    <a:pt x="33" y="51"/>
                    <a:pt x="34" y="51"/>
                  </a:cubicBezTo>
                  <a:cubicBezTo>
                    <a:pt x="36" y="51"/>
                    <a:pt x="37" y="50"/>
                    <a:pt x="37" y="48"/>
                  </a:cubicBezTo>
                  <a:lnTo>
                    <a:pt x="37" y="23"/>
                  </a:lnTo>
                  <a:close/>
                  <a:moveTo>
                    <a:pt x="42" y="46"/>
                  </a:moveTo>
                  <a:cubicBezTo>
                    <a:pt x="42" y="53"/>
                    <a:pt x="39" y="56"/>
                    <a:pt x="34" y="56"/>
                  </a:cubicBezTo>
                  <a:cubicBezTo>
                    <a:pt x="30" y="56"/>
                    <a:pt x="28" y="52"/>
                    <a:pt x="28" y="46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8"/>
                    <a:pt x="30" y="15"/>
                    <a:pt x="34" y="15"/>
                  </a:cubicBezTo>
                  <a:cubicBezTo>
                    <a:pt x="39" y="15"/>
                    <a:pt x="42" y="18"/>
                    <a:pt x="42" y="24"/>
                  </a:cubicBezTo>
                  <a:lnTo>
                    <a:pt x="42" y="46"/>
                  </a:lnTo>
                  <a:close/>
                  <a:moveTo>
                    <a:pt x="46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46" y="56"/>
                    <a:pt x="46" y="56"/>
                    <a:pt x="46" y="56"/>
                  </a:cubicBezTo>
                  <a:lnTo>
                    <a:pt x="46" y="0"/>
                  </a:lnTo>
                  <a:close/>
                  <a:moveTo>
                    <a:pt x="64" y="23"/>
                  </a:moveTo>
                  <a:cubicBezTo>
                    <a:pt x="64" y="20"/>
                    <a:pt x="63" y="20"/>
                    <a:pt x="61" y="20"/>
                  </a:cubicBezTo>
                  <a:cubicBezTo>
                    <a:pt x="60" y="20"/>
                    <a:pt x="59" y="20"/>
                    <a:pt x="59" y="23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50"/>
                    <a:pt x="60" y="51"/>
                    <a:pt x="61" y="51"/>
                  </a:cubicBezTo>
                  <a:cubicBezTo>
                    <a:pt x="63" y="51"/>
                    <a:pt x="64" y="50"/>
                    <a:pt x="64" y="48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69" y="53"/>
                    <a:pt x="66" y="56"/>
                    <a:pt x="61" y="56"/>
                  </a:cubicBezTo>
                  <a:cubicBezTo>
                    <a:pt x="57" y="56"/>
                    <a:pt x="55" y="52"/>
                    <a:pt x="55" y="46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18"/>
                    <a:pt x="57" y="15"/>
                    <a:pt x="61" y="15"/>
                  </a:cubicBezTo>
                  <a:cubicBezTo>
                    <a:pt x="66" y="15"/>
                    <a:pt x="69" y="18"/>
                    <a:pt x="69" y="24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4" y="30"/>
                    <a:pt x="64" y="30"/>
                    <a:pt x="64" y="30"/>
                  </a:cubicBezTo>
                  <a:lnTo>
                    <a:pt x="64" y="23"/>
                  </a:lnTo>
                  <a:close/>
                  <a:moveTo>
                    <a:pt x="83" y="23"/>
                  </a:moveTo>
                  <a:cubicBezTo>
                    <a:pt x="83" y="20"/>
                    <a:pt x="82" y="20"/>
                    <a:pt x="80" y="20"/>
                  </a:cubicBezTo>
                  <a:cubicBezTo>
                    <a:pt x="79" y="20"/>
                    <a:pt x="78" y="20"/>
                    <a:pt x="78" y="23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8" y="15"/>
                    <a:pt x="80" y="15"/>
                    <a:pt x="82" y="15"/>
                  </a:cubicBezTo>
                  <a:cubicBezTo>
                    <a:pt x="86" y="15"/>
                    <a:pt x="88" y="18"/>
                    <a:pt x="88" y="24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23"/>
                    <a:pt x="83" y="23"/>
                    <a:pt x="83" y="2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70"/>
            <p:cNvSpPr>
              <a:spLocks noEditPoints="1"/>
            </p:cNvSpPr>
            <p:nvPr/>
          </p:nvSpPr>
          <p:spPr bwMode="auto">
            <a:xfrm>
              <a:off x="8286752" y="2516199"/>
              <a:ext cx="334963" cy="86916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4" y="41"/>
                </a:cxn>
                <a:cxn ang="0">
                  <a:pos x="10" y="8"/>
                </a:cxn>
                <a:cxn ang="0">
                  <a:pos x="5" y="8"/>
                </a:cxn>
                <a:cxn ang="0">
                  <a:pos x="0" y="41"/>
                </a:cxn>
                <a:cxn ang="0">
                  <a:pos x="5" y="0"/>
                </a:cxn>
                <a:cxn ang="0">
                  <a:pos x="9" y="0"/>
                </a:cxn>
                <a:cxn ang="0">
                  <a:pos x="18" y="0"/>
                </a:cxn>
                <a:cxn ang="0">
                  <a:pos x="24" y="41"/>
                </a:cxn>
                <a:cxn ang="0">
                  <a:pos x="19" y="8"/>
                </a:cxn>
                <a:cxn ang="0">
                  <a:pos x="36" y="24"/>
                </a:cxn>
                <a:cxn ang="0">
                  <a:pos x="33" y="29"/>
                </a:cxn>
                <a:cxn ang="0">
                  <a:pos x="36" y="36"/>
                </a:cxn>
                <a:cxn ang="0">
                  <a:pos x="38" y="23"/>
                </a:cxn>
                <a:cxn ang="0">
                  <a:pos x="32" y="21"/>
                </a:cxn>
                <a:cxn ang="0">
                  <a:pos x="38" y="17"/>
                </a:cxn>
                <a:cxn ang="0">
                  <a:pos x="36" y="6"/>
                </a:cxn>
                <a:cxn ang="0">
                  <a:pos x="34" y="16"/>
                </a:cxn>
                <a:cxn ang="0">
                  <a:pos x="29" y="10"/>
                </a:cxn>
                <a:cxn ang="0">
                  <a:pos x="43" y="10"/>
                </a:cxn>
                <a:cxn ang="0">
                  <a:pos x="38" y="41"/>
                </a:cxn>
                <a:cxn ang="0">
                  <a:pos x="34" y="41"/>
                </a:cxn>
                <a:cxn ang="0">
                  <a:pos x="28" y="29"/>
                </a:cxn>
                <a:cxn ang="0">
                  <a:pos x="55" y="6"/>
                </a:cxn>
                <a:cxn ang="0">
                  <a:pos x="52" y="41"/>
                </a:cxn>
                <a:cxn ang="0">
                  <a:pos x="47" y="0"/>
                </a:cxn>
                <a:cxn ang="0">
                  <a:pos x="52" y="2"/>
                </a:cxn>
                <a:cxn ang="0">
                  <a:pos x="62" y="10"/>
                </a:cxn>
                <a:cxn ang="0">
                  <a:pos x="57" y="41"/>
                </a:cxn>
                <a:cxn ang="0">
                  <a:pos x="76" y="23"/>
                </a:cxn>
                <a:cxn ang="0">
                  <a:pos x="73" y="25"/>
                </a:cxn>
                <a:cxn ang="0">
                  <a:pos x="71" y="34"/>
                </a:cxn>
                <a:cxn ang="0">
                  <a:pos x="76" y="34"/>
                </a:cxn>
                <a:cxn ang="0">
                  <a:pos x="66" y="29"/>
                </a:cxn>
                <a:cxn ang="0">
                  <a:pos x="73" y="19"/>
                </a:cxn>
                <a:cxn ang="0">
                  <a:pos x="76" y="8"/>
                </a:cxn>
                <a:cxn ang="0">
                  <a:pos x="72" y="8"/>
                </a:cxn>
                <a:cxn ang="0">
                  <a:pos x="67" y="16"/>
                </a:cxn>
                <a:cxn ang="0">
                  <a:pos x="74" y="0"/>
                </a:cxn>
                <a:cxn ang="0">
                  <a:pos x="81" y="41"/>
                </a:cxn>
                <a:cxn ang="0">
                  <a:pos x="76" y="40"/>
                </a:cxn>
                <a:cxn ang="0">
                  <a:pos x="66" y="32"/>
                </a:cxn>
                <a:cxn ang="0">
                  <a:pos x="95" y="8"/>
                </a:cxn>
                <a:cxn ang="0">
                  <a:pos x="90" y="8"/>
                </a:cxn>
                <a:cxn ang="0">
                  <a:pos x="85" y="41"/>
                </a:cxn>
                <a:cxn ang="0">
                  <a:pos x="90" y="0"/>
                </a:cxn>
                <a:cxn ang="0">
                  <a:pos x="94" y="0"/>
                </a:cxn>
                <a:cxn ang="0">
                  <a:pos x="100" y="41"/>
                </a:cxn>
                <a:cxn ang="0">
                  <a:pos x="95" y="8"/>
                </a:cxn>
                <a:cxn ang="0">
                  <a:pos x="112" y="24"/>
                </a:cxn>
                <a:cxn ang="0">
                  <a:pos x="109" y="29"/>
                </a:cxn>
                <a:cxn ang="0">
                  <a:pos x="111" y="36"/>
                </a:cxn>
                <a:cxn ang="0">
                  <a:pos x="114" y="23"/>
                </a:cxn>
                <a:cxn ang="0">
                  <a:pos x="108" y="21"/>
                </a:cxn>
                <a:cxn ang="0">
                  <a:pos x="114" y="17"/>
                </a:cxn>
                <a:cxn ang="0">
                  <a:pos x="112" y="6"/>
                </a:cxn>
                <a:cxn ang="0">
                  <a:pos x="109" y="16"/>
                </a:cxn>
                <a:cxn ang="0">
                  <a:pos x="104" y="10"/>
                </a:cxn>
                <a:cxn ang="0">
                  <a:pos x="118" y="10"/>
                </a:cxn>
                <a:cxn ang="0">
                  <a:pos x="114" y="41"/>
                </a:cxn>
                <a:cxn ang="0">
                  <a:pos x="110" y="41"/>
                </a:cxn>
                <a:cxn ang="0">
                  <a:pos x="104" y="29"/>
                </a:cxn>
              </a:cxnLst>
              <a:rect l="0" t="0" r="r" b="b"/>
              <a:pathLst>
                <a:path w="118" h="41">
                  <a:moveTo>
                    <a:pt x="19" y="8"/>
                  </a:moveTo>
                  <a:cubicBezTo>
                    <a:pt x="19" y="6"/>
                    <a:pt x="18" y="6"/>
                    <a:pt x="17" y="6"/>
                  </a:cubicBezTo>
                  <a:cubicBezTo>
                    <a:pt x="15" y="6"/>
                    <a:pt x="14" y="6"/>
                    <a:pt x="14" y="8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6"/>
                    <a:pt x="9" y="6"/>
                    <a:pt x="7" y="6"/>
                  </a:cubicBezTo>
                  <a:cubicBezTo>
                    <a:pt x="5" y="6"/>
                    <a:pt x="5" y="6"/>
                    <a:pt x="5" y="8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6" y="0"/>
                    <a:pt x="9" y="0"/>
                  </a:cubicBezTo>
                  <a:cubicBezTo>
                    <a:pt x="11" y="0"/>
                    <a:pt x="12" y="1"/>
                    <a:pt x="13" y="3"/>
                  </a:cubicBezTo>
                  <a:cubicBezTo>
                    <a:pt x="14" y="1"/>
                    <a:pt x="16" y="0"/>
                    <a:pt x="18" y="0"/>
                  </a:cubicBezTo>
                  <a:cubicBezTo>
                    <a:pt x="22" y="0"/>
                    <a:pt x="24" y="3"/>
                    <a:pt x="24" y="10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8"/>
                    <a:pt x="19" y="8"/>
                    <a:pt x="19" y="8"/>
                  </a:cubicBezTo>
                  <a:close/>
                  <a:moveTo>
                    <a:pt x="38" y="23"/>
                  </a:moveTo>
                  <a:cubicBezTo>
                    <a:pt x="37" y="24"/>
                    <a:pt x="37" y="24"/>
                    <a:pt x="36" y="24"/>
                  </a:cubicBezTo>
                  <a:cubicBezTo>
                    <a:pt x="36" y="25"/>
                    <a:pt x="35" y="25"/>
                    <a:pt x="35" y="25"/>
                  </a:cubicBezTo>
                  <a:cubicBezTo>
                    <a:pt x="34" y="26"/>
                    <a:pt x="33" y="27"/>
                    <a:pt x="33" y="29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6"/>
                    <a:pt x="34" y="36"/>
                    <a:pt x="36" y="36"/>
                  </a:cubicBezTo>
                  <a:cubicBezTo>
                    <a:pt x="37" y="36"/>
                    <a:pt x="38" y="36"/>
                    <a:pt x="38" y="34"/>
                  </a:cubicBezTo>
                  <a:cubicBezTo>
                    <a:pt x="38" y="23"/>
                    <a:pt x="38" y="23"/>
                    <a:pt x="38" y="23"/>
                  </a:cubicBezTo>
                  <a:close/>
                  <a:moveTo>
                    <a:pt x="28" y="29"/>
                  </a:moveTo>
                  <a:cubicBezTo>
                    <a:pt x="28" y="25"/>
                    <a:pt x="29" y="23"/>
                    <a:pt x="32" y="21"/>
                  </a:cubicBezTo>
                  <a:cubicBezTo>
                    <a:pt x="33" y="20"/>
                    <a:pt x="35" y="20"/>
                    <a:pt x="36" y="19"/>
                  </a:cubicBezTo>
                  <a:cubicBezTo>
                    <a:pt x="37" y="18"/>
                    <a:pt x="37" y="17"/>
                    <a:pt x="38" y="1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6"/>
                    <a:pt x="37" y="6"/>
                    <a:pt x="36" y="6"/>
                  </a:cubicBezTo>
                  <a:cubicBezTo>
                    <a:pt x="35" y="6"/>
                    <a:pt x="34" y="6"/>
                    <a:pt x="34" y="8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3"/>
                    <a:pt x="31" y="0"/>
                    <a:pt x="36" y="0"/>
                  </a:cubicBezTo>
                  <a:cubicBezTo>
                    <a:pt x="41" y="0"/>
                    <a:pt x="43" y="3"/>
                    <a:pt x="43" y="10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7" y="41"/>
                    <a:pt x="36" y="41"/>
                    <a:pt x="34" y="41"/>
                  </a:cubicBezTo>
                  <a:cubicBezTo>
                    <a:pt x="31" y="41"/>
                    <a:pt x="28" y="38"/>
                    <a:pt x="28" y="32"/>
                  </a:cubicBezTo>
                  <a:lnTo>
                    <a:pt x="28" y="29"/>
                  </a:lnTo>
                  <a:close/>
                  <a:moveTo>
                    <a:pt x="57" y="8"/>
                  </a:moveTo>
                  <a:cubicBezTo>
                    <a:pt x="57" y="6"/>
                    <a:pt x="56" y="6"/>
                    <a:pt x="55" y="6"/>
                  </a:cubicBezTo>
                  <a:cubicBezTo>
                    <a:pt x="53" y="6"/>
                    <a:pt x="52" y="6"/>
                    <a:pt x="52" y="8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60" y="0"/>
                    <a:pt x="62" y="3"/>
                    <a:pt x="62" y="10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7" y="41"/>
                    <a:pt x="57" y="41"/>
                    <a:pt x="57" y="41"/>
                  </a:cubicBezTo>
                  <a:lnTo>
                    <a:pt x="57" y="8"/>
                  </a:lnTo>
                  <a:close/>
                  <a:moveTo>
                    <a:pt x="76" y="23"/>
                  </a:moveTo>
                  <a:cubicBezTo>
                    <a:pt x="76" y="24"/>
                    <a:pt x="74" y="24"/>
                    <a:pt x="74" y="24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2" y="26"/>
                    <a:pt x="71" y="27"/>
                    <a:pt x="71" y="29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71" y="36"/>
                    <a:pt x="72" y="36"/>
                    <a:pt x="73" y="36"/>
                  </a:cubicBezTo>
                  <a:cubicBezTo>
                    <a:pt x="75" y="36"/>
                    <a:pt x="76" y="36"/>
                    <a:pt x="76" y="34"/>
                  </a:cubicBezTo>
                  <a:lnTo>
                    <a:pt x="76" y="23"/>
                  </a:lnTo>
                  <a:close/>
                  <a:moveTo>
                    <a:pt x="66" y="29"/>
                  </a:moveTo>
                  <a:cubicBezTo>
                    <a:pt x="66" y="25"/>
                    <a:pt x="68" y="23"/>
                    <a:pt x="70" y="21"/>
                  </a:cubicBezTo>
                  <a:cubicBezTo>
                    <a:pt x="71" y="20"/>
                    <a:pt x="72" y="20"/>
                    <a:pt x="73" y="19"/>
                  </a:cubicBezTo>
                  <a:cubicBezTo>
                    <a:pt x="74" y="18"/>
                    <a:pt x="75" y="17"/>
                    <a:pt x="76" y="17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6"/>
                    <a:pt x="75" y="6"/>
                    <a:pt x="74" y="6"/>
                  </a:cubicBezTo>
                  <a:cubicBezTo>
                    <a:pt x="72" y="6"/>
                    <a:pt x="72" y="6"/>
                    <a:pt x="72" y="8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3"/>
                    <a:pt x="69" y="0"/>
                    <a:pt x="74" y="0"/>
                  </a:cubicBezTo>
                  <a:cubicBezTo>
                    <a:pt x="78" y="0"/>
                    <a:pt x="81" y="3"/>
                    <a:pt x="81" y="10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5" y="41"/>
                    <a:pt x="74" y="41"/>
                    <a:pt x="72" y="41"/>
                  </a:cubicBezTo>
                  <a:cubicBezTo>
                    <a:pt x="68" y="41"/>
                    <a:pt x="66" y="38"/>
                    <a:pt x="66" y="32"/>
                  </a:cubicBezTo>
                  <a:cubicBezTo>
                    <a:pt x="66" y="29"/>
                    <a:pt x="66" y="29"/>
                    <a:pt x="66" y="29"/>
                  </a:cubicBezTo>
                  <a:close/>
                  <a:moveTo>
                    <a:pt x="95" y="8"/>
                  </a:moveTo>
                  <a:cubicBezTo>
                    <a:pt x="95" y="6"/>
                    <a:pt x="94" y="6"/>
                    <a:pt x="92" y="6"/>
                  </a:cubicBezTo>
                  <a:cubicBezTo>
                    <a:pt x="91" y="6"/>
                    <a:pt x="90" y="6"/>
                    <a:pt x="90" y="8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1" y="1"/>
                    <a:pt x="92" y="0"/>
                    <a:pt x="94" y="0"/>
                  </a:cubicBezTo>
                  <a:cubicBezTo>
                    <a:pt x="97" y="0"/>
                    <a:pt x="100" y="3"/>
                    <a:pt x="100" y="10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95" y="8"/>
                    <a:pt x="95" y="8"/>
                    <a:pt x="95" y="8"/>
                  </a:cubicBezTo>
                  <a:close/>
                  <a:moveTo>
                    <a:pt x="114" y="23"/>
                  </a:moveTo>
                  <a:cubicBezTo>
                    <a:pt x="113" y="24"/>
                    <a:pt x="112" y="24"/>
                    <a:pt x="112" y="24"/>
                  </a:cubicBezTo>
                  <a:cubicBezTo>
                    <a:pt x="112" y="25"/>
                    <a:pt x="111" y="25"/>
                    <a:pt x="110" y="25"/>
                  </a:cubicBezTo>
                  <a:cubicBezTo>
                    <a:pt x="109" y="26"/>
                    <a:pt x="109" y="27"/>
                    <a:pt x="109" y="29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09" y="36"/>
                    <a:pt x="109" y="36"/>
                    <a:pt x="111" y="36"/>
                  </a:cubicBezTo>
                  <a:cubicBezTo>
                    <a:pt x="113" y="36"/>
                    <a:pt x="114" y="36"/>
                    <a:pt x="114" y="34"/>
                  </a:cubicBezTo>
                  <a:lnTo>
                    <a:pt x="114" y="23"/>
                  </a:lnTo>
                  <a:close/>
                  <a:moveTo>
                    <a:pt x="104" y="29"/>
                  </a:moveTo>
                  <a:cubicBezTo>
                    <a:pt x="104" y="25"/>
                    <a:pt x="105" y="23"/>
                    <a:pt x="108" y="21"/>
                  </a:cubicBezTo>
                  <a:cubicBezTo>
                    <a:pt x="109" y="20"/>
                    <a:pt x="110" y="20"/>
                    <a:pt x="111" y="19"/>
                  </a:cubicBezTo>
                  <a:cubicBezTo>
                    <a:pt x="112" y="18"/>
                    <a:pt x="113" y="17"/>
                    <a:pt x="114" y="17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4" y="6"/>
                    <a:pt x="113" y="6"/>
                    <a:pt x="112" y="6"/>
                  </a:cubicBezTo>
                  <a:cubicBezTo>
                    <a:pt x="110" y="6"/>
                    <a:pt x="109" y="6"/>
                    <a:pt x="109" y="8"/>
                  </a:cubicBezTo>
                  <a:cubicBezTo>
                    <a:pt x="109" y="16"/>
                    <a:pt x="109" y="16"/>
                    <a:pt x="109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3"/>
                    <a:pt x="107" y="0"/>
                    <a:pt x="112" y="0"/>
                  </a:cubicBezTo>
                  <a:cubicBezTo>
                    <a:pt x="116" y="0"/>
                    <a:pt x="118" y="3"/>
                    <a:pt x="118" y="10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3" y="41"/>
                    <a:pt x="112" y="41"/>
                    <a:pt x="110" y="41"/>
                  </a:cubicBezTo>
                  <a:cubicBezTo>
                    <a:pt x="106" y="41"/>
                    <a:pt x="104" y="38"/>
                    <a:pt x="104" y="32"/>
                  </a:cubicBezTo>
                  <a:cubicBezTo>
                    <a:pt x="104" y="29"/>
                    <a:pt x="104" y="29"/>
                    <a:pt x="104" y="29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auto">
            <a:xfrm>
              <a:off x="4938713" y="3950902"/>
              <a:ext cx="242888" cy="119063"/>
            </a:xfrm>
            <a:custGeom>
              <a:avLst/>
              <a:gdLst/>
              <a:ahLst/>
              <a:cxnLst>
                <a:cxn ang="0">
                  <a:pos x="10" y="56"/>
                </a:cxn>
                <a:cxn ang="0">
                  <a:pos x="7" y="43"/>
                </a:cxn>
                <a:cxn ang="0">
                  <a:pos x="5" y="56"/>
                </a:cxn>
                <a:cxn ang="0">
                  <a:pos x="5" y="35"/>
                </a:cxn>
                <a:cxn ang="0">
                  <a:pos x="5" y="14"/>
                </a:cxn>
                <a:cxn ang="0">
                  <a:pos x="7" y="27"/>
                </a:cxn>
                <a:cxn ang="0">
                  <a:pos x="10" y="14"/>
                </a:cxn>
                <a:cxn ang="0">
                  <a:pos x="10" y="35"/>
                </a:cxn>
                <a:cxn ang="0">
                  <a:pos x="23" y="8"/>
                </a:cxn>
                <a:cxn ang="0">
                  <a:pos x="18" y="0"/>
                </a:cxn>
                <a:cxn ang="0">
                  <a:pos x="23" y="8"/>
                </a:cxn>
                <a:cxn ang="0">
                  <a:pos x="18" y="56"/>
                </a:cxn>
                <a:cxn ang="0">
                  <a:pos x="23" y="14"/>
                </a:cxn>
                <a:cxn ang="0">
                  <a:pos x="32" y="31"/>
                </a:cxn>
                <a:cxn ang="0">
                  <a:pos x="37" y="22"/>
                </a:cxn>
                <a:cxn ang="0">
                  <a:pos x="32" y="22"/>
                </a:cxn>
                <a:cxn ang="0">
                  <a:pos x="32" y="48"/>
                </a:cxn>
                <a:cxn ang="0">
                  <a:pos x="37" y="48"/>
                </a:cxn>
                <a:cxn ang="0">
                  <a:pos x="42" y="40"/>
                </a:cxn>
                <a:cxn ang="0">
                  <a:pos x="34" y="56"/>
                </a:cxn>
                <a:cxn ang="0">
                  <a:pos x="27" y="24"/>
                </a:cxn>
                <a:cxn ang="0">
                  <a:pos x="42" y="24"/>
                </a:cxn>
                <a:cxn ang="0">
                  <a:pos x="32" y="36"/>
                </a:cxn>
                <a:cxn ang="0">
                  <a:pos x="34" y="8"/>
                </a:cxn>
                <a:cxn ang="0">
                  <a:pos x="34" y="12"/>
                </a:cxn>
                <a:cxn ang="0">
                  <a:pos x="34" y="8"/>
                </a:cxn>
                <a:cxn ang="0">
                  <a:pos x="55" y="56"/>
                </a:cxn>
                <a:cxn ang="0">
                  <a:pos x="52" y="43"/>
                </a:cxn>
                <a:cxn ang="0">
                  <a:pos x="50" y="56"/>
                </a:cxn>
                <a:cxn ang="0">
                  <a:pos x="50" y="35"/>
                </a:cxn>
                <a:cxn ang="0">
                  <a:pos x="50" y="14"/>
                </a:cxn>
                <a:cxn ang="0">
                  <a:pos x="52" y="27"/>
                </a:cxn>
                <a:cxn ang="0">
                  <a:pos x="55" y="14"/>
                </a:cxn>
                <a:cxn ang="0">
                  <a:pos x="55" y="35"/>
                </a:cxn>
                <a:cxn ang="0">
                  <a:pos x="68" y="8"/>
                </a:cxn>
                <a:cxn ang="0">
                  <a:pos x="63" y="0"/>
                </a:cxn>
                <a:cxn ang="0">
                  <a:pos x="68" y="8"/>
                </a:cxn>
                <a:cxn ang="0">
                  <a:pos x="63" y="56"/>
                </a:cxn>
                <a:cxn ang="0">
                  <a:pos x="68" y="14"/>
                </a:cxn>
                <a:cxn ang="0">
                  <a:pos x="77" y="31"/>
                </a:cxn>
                <a:cxn ang="0">
                  <a:pos x="82" y="22"/>
                </a:cxn>
                <a:cxn ang="0">
                  <a:pos x="77" y="22"/>
                </a:cxn>
                <a:cxn ang="0">
                  <a:pos x="77" y="48"/>
                </a:cxn>
                <a:cxn ang="0">
                  <a:pos x="82" y="48"/>
                </a:cxn>
                <a:cxn ang="0">
                  <a:pos x="86" y="40"/>
                </a:cxn>
                <a:cxn ang="0">
                  <a:pos x="79" y="56"/>
                </a:cxn>
                <a:cxn ang="0">
                  <a:pos x="72" y="24"/>
                </a:cxn>
                <a:cxn ang="0">
                  <a:pos x="86" y="24"/>
                </a:cxn>
                <a:cxn ang="0">
                  <a:pos x="77" y="36"/>
                </a:cxn>
              </a:cxnLst>
              <a:rect l="0" t="0" r="r" b="b"/>
              <a:pathLst>
                <a:path w="86" h="56">
                  <a:moveTo>
                    <a:pt x="15" y="56"/>
                  </a:moveTo>
                  <a:cubicBezTo>
                    <a:pt x="10" y="56"/>
                    <a:pt x="10" y="56"/>
                    <a:pt x="10" y="56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0" y="35"/>
                    <a:pt x="10" y="35"/>
                    <a:pt x="10" y="35"/>
                  </a:cubicBezTo>
                  <a:lnTo>
                    <a:pt x="15" y="56"/>
                  </a:lnTo>
                  <a:close/>
                  <a:moveTo>
                    <a:pt x="23" y="8"/>
                  </a:moveTo>
                  <a:cubicBezTo>
                    <a:pt x="18" y="8"/>
                    <a:pt x="18" y="8"/>
                    <a:pt x="18" y="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3" y="8"/>
                  </a:lnTo>
                  <a:close/>
                  <a:moveTo>
                    <a:pt x="23" y="56"/>
                  </a:moveTo>
                  <a:cubicBezTo>
                    <a:pt x="18" y="56"/>
                    <a:pt x="18" y="56"/>
                    <a:pt x="18" y="56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23" y="14"/>
                    <a:pt x="23" y="14"/>
                    <a:pt x="23" y="14"/>
                  </a:cubicBezTo>
                  <a:lnTo>
                    <a:pt x="23" y="56"/>
                  </a:lnTo>
                  <a:close/>
                  <a:moveTo>
                    <a:pt x="32" y="31"/>
                  </a:moveTo>
                  <a:cubicBezTo>
                    <a:pt x="37" y="31"/>
                    <a:pt x="37" y="31"/>
                    <a:pt x="37" y="31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0"/>
                    <a:pt x="36" y="20"/>
                    <a:pt x="34" y="20"/>
                  </a:cubicBezTo>
                  <a:cubicBezTo>
                    <a:pt x="33" y="20"/>
                    <a:pt x="32" y="20"/>
                    <a:pt x="32" y="22"/>
                  </a:cubicBezTo>
                  <a:cubicBezTo>
                    <a:pt x="32" y="31"/>
                    <a:pt x="32" y="31"/>
                    <a:pt x="32" y="31"/>
                  </a:cubicBezTo>
                  <a:close/>
                  <a:moveTo>
                    <a:pt x="32" y="48"/>
                  </a:moveTo>
                  <a:cubicBezTo>
                    <a:pt x="32" y="50"/>
                    <a:pt x="33" y="50"/>
                    <a:pt x="34" y="50"/>
                  </a:cubicBezTo>
                  <a:cubicBezTo>
                    <a:pt x="36" y="50"/>
                    <a:pt x="37" y="50"/>
                    <a:pt x="37" y="48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52"/>
                    <a:pt x="39" y="56"/>
                    <a:pt x="34" y="56"/>
                  </a:cubicBezTo>
                  <a:cubicBezTo>
                    <a:pt x="30" y="56"/>
                    <a:pt x="27" y="52"/>
                    <a:pt x="27" y="46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17"/>
                    <a:pt x="30" y="14"/>
                    <a:pt x="34" y="14"/>
                  </a:cubicBezTo>
                  <a:cubicBezTo>
                    <a:pt x="39" y="14"/>
                    <a:pt x="42" y="17"/>
                    <a:pt x="42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48"/>
                    <a:pt x="32" y="48"/>
                    <a:pt x="32" y="48"/>
                  </a:cubicBezTo>
                  <a:close/>
                  <a:moveTo>
                    <a:pt x="34" y="8"/>
                  </a:moveTo>
                  <a:cubicBezTo>
                    <a:pt x="37" y="12"/>
                    <a:pt x="37" y="12"/>
                    <a:pt x="37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28" y="8"/>
                    <a:pt x="28" y="8"/>
                    <a:pt x="28" y="8"/>
                  </a:cubicBezTo>
                  <a:lnTo>
                    <a:pt x="34" y="8"/>
                  </a:lnTo>
                  <a:close/>
                  <a:moveTo>
                    <a:pt x="60" y="56"/>
                  </a:moveTo>
                  <a:cubicBezTo>
                    <a:pt x="55" y="56"/>
                    <a:pt x="55" y="56"/>
                    <a:pt x="55" y="56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55" y="35"/>
                    <a:pt x="55" y="35"/>
                    <a:pt x="55" y="35"/>
                  </a:cubicBezTo>
                  <a:lnTo>
                    <a:pt x="60" y="56"/>
                  </a:lnTo>
                  <a:close/>
                  <a:moveTo>
                    <a:pt x="68" y="8"/>
                  </a:moveTo>
                  <a:cubicBezTo>
                    <a:pt x="63" y="8"/>
                    <a:pt x="63" y="8"/>
                    <a:pt x="63" y="8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68" y="8"/>
                  </a:lnTo>
                  <a:close/>
                  <a:moveTo>
                    <a:pt x="68" y="56"/>
                  </a:moveTo>
                  <a:cubicBezTo>
                    <a:pt x="63" y="56"/>
                    <a:pt x="63" y="56"/>
                    <a:pt x="63" y="56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8" y="14"/>
                    <a:pt x="68" y="14"/>
                    <a:pt x="68" y="14"/>
                  </a:cubicBezTo>
                  <a:lnTo>
                    <a:pt x="68" y="56"/>
                  </a:lnTo>
                  <a:close/>
                  <a:moveTo>
                    <a:pt x="77" y="31"/>
                  </a:moveTo>
                  <a:cubicBezTo>
                    <a:pt x="82" y="31"/>
                    <a:pt x="82" y="31"/>
                    <a:pt x="82" y="31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0"/>
                    <a:pt x="81" y="20"/>
                    <a:pt x="79" y="20"/>
                  </a:cubicBezTo>
                  <a:cubicBezTo>
                    <a:pt x="77" y="20"/>
                    <a:pt x="77" y="20"/>
                    <a:pt x="77" y="22"/>
                  </a:cubicBezTo>
                  <a:cubicBezTo>
                    <a:pt x="77" y="31"/>
                    <a:pt x="77" y="31"/>
                    <a:pt x="77" y="31"/>
                  </a:cubicBezTo>
                  <a:close/>
                  <a:moveTo>
                    <a:pt x="77" y="48"/>
                  </a:moveTo>
                  <a:cubicBezTo>
                    <a:pt x="77" y="50"/>
                    <a:pt x="78" y="50"/>
                    <a:pt x="79" y="50"/>
                  </a:cubicBezTo>
                  <a:cubicBezTo>
                    <a:pt x="81" y="50"/>
                    <a:pt x="82" y="50"/>
                    <a:pt x="82" y="48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52"/>
                    <a:pt x="84" y="56"/>
                    <a:pt x="79" y="56"/>
                  </a:cubicBezTo>
                  <a:cubicBezTo>
                    <a:pt x="74" y="56"/>
                    <a:pt x="72" y="52"/>
                    <a:pt x="72" y="4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17"/>
                    <a:pt x="74" y="14"/>
                    <a:pt x="79" y="14"/>
                  </a:cubicBezTo>
                  <a:cubicBezTo>
                    <a:pt x="84" y="14"/>
                    <a:pt x="86" y="17"/>
                    <a:pt x="86" y="24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7" y="48"/>
                    <a:pt x="77" y="48"/>
                    <a:pt x="77" y="48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72"/>
            <p:cNvSpPr>
              <a:spLocks noEditPoints="1"/>
            </p:cNvSpPr>
            <p:nvPr/>
          </p:nvSpPr>
          <p:spPr bwMode="auto">
            <a:xfrm>
              <a:off x="4051301" y="1974465"/>
              <a:ext cx="234950" cy="116681"/>
            </a:xfrm>
            <a:custGeom>
              <a:avLst/>
              <a:gdLst/>
              <a:ahLst/>
              <a:cxnLst>
                <a:cxn ang="0">
                  <a:pos x="7" y="19"/>
                </a:cxn>
                <a:cxn ang="0">
                  <a:pos x="5" y="48"/>
                </a:cxn>
                <a:cxn ang="0">
                  <a:pos x="10" y="48"/>
                </a:cxn>
                <a:cxn ang="0">
                  <a:pos x="0" y="0"/>
                </a:cxn>
                <a:cxn ang="0">
                  <a:pos x="5" y="16"/>
                </a:cxn>
                <a:cxn ang="0">
                  <a:pos x="15" y="24"/>
                </a:cxn>
                <a:cxn ang="0">
                  <a:pos x="9" y="55"/>
                </a:cxn>
                <a:cxn ang="0">
                  <a:pos x="2" y="55"/>
                </a:cxn>
                <a:cxn ang="0">
                  <a:pos x="0" y="0"/>
                </a:cxn>
                <a:cxn ang="0">
                  <a:pos x="27" y="38"/>
                </a:cxn>
                <a:cxn ang="0">
                  <a:pos x="24" y="43"/>
                </a:cxn>
                <a:cxn ang="0">
                  <a:pos x="26" y="50"/>
                </a:cxn>
                <a:cxn ang="0">
                  <a:pos x="29" y="37"/>
                </a:cxn>
                <a:cxn ang="0">
                  <a:pos x="23" y="35"/>
                </a:cxn>
                <a:cxn ang="0">
                  <a:pos x="29" y="31"/>
                </a:cxn>
                <a:cxn ang="0">
                  <a:pos x="27" y="19"/>
                </a:cxn>
                <a:cxn ang="0">
                  <a:pos x="24" y="30"/>
                </a:cxn>
                <a:cxn ang="0">
                  <a:pos x="20" y="24"/>
                </a:cxn>
                <a:cxn ang="0">
                  <a:pos x="33" y="24"/>
                </a:cxn>
                <a:cxn ang="0">
                  <a:pos x="29" y="55"/>
                </a:cxn>
                <a:cxn ang="0">
                  <a:pos x="25" y="55"/>
                </a:cxn>
                <a:cxn ang="0">
                  <a:pos x="19" y="43"/>
                </a:cxn>
                <a:cxn ang="0">
                  <a:pos x="47" y="14"/>
                </a:cxn>
                <a:cxn ang="0">
                  <a:pos x="45" y="19"/>
                </a:cxn>
                <a:cxn ang="0">
                  <a:pos x="43" y="55"/>
                </a:cxn>
                <a:cxn ang="0">
                  <a:pos x="38" y="14"/>
                </a:cxn>
                <a:cxn ang="0">
                  <a:pos x="43" y="16"/>
                </a:cxn>
                <a:cxn ang="0">
                  <a:pos x="55" y="0"/>
                </a:cxn>
                <a:cxn ang="0">
                  <a:pos x="56" y="29"/>
                </a:cxn>
                <a:cxn ang="0">
                  <a:pos x="66" y="14"/>
                </a:cxn>
                <a:cxn ang="0">
                  <a:pos x="66" y="55"/>
                </a:cxn>
                <a:cxn ang="0">
                  <a:pos x="56" y="40"/>
                </a:cxn>
                <a:cxn ang="0">
                  <a:pos x="55" y="55"/>
                </a:cxn>
                <a:cxn ang="0">
                  <a:pos x="50" y="0"/>
                </a:cxn>
                <a:cxn ang="0">
                  <a:pos x="77" y="38"/>
                </a:cxn>
                <a:cxn ang="0">
                  <a:pos x="74" y="43"/>
                </a:cxn>
                <a:cxn ang="0">
                  <a:pos x="76" y="50"/>
                </a:cxn>
                <a:cxn ang="0">
                  <a:pos x="78" y="37"/>
                </a:cxn>
                <a:cxn ang="0">
                  <a:pos x="73" y="35"/>
                </a:cxn>
                <a:cxn ang="0">
                  <a:pos x="78" y="31"/>
                </a:cxn>
                <a:cxn ang="0">
                  <a:pos x="76" y="19"/>
                </a:cxn>
                <a:cxn ang="0">
                  <a:pos x="74" y="30"/>
                </a:cxn>
                <a:cxn ang="0">
                  <a:pos x="69" y="24"/>
                </a:cxn>
                <a:cxn ang="0">
                  <a:pos x="83" y="24"/>
                </a:cxn>
                <a:cxn ang="0">
                  <a:pos x="78" y="55"/>
                </a:cxn>
                <a:cxn ang="0">
                  <a:pos x="74" y="55"/>
                </a:cxn>
                <a:cxn ang="0">
                  <a:pos x="69" y="43"/>
                </a:cxn>
              </a:cxnLst>
              <a:rect l="0" t="0" r="r" b="b"/>
              <a:pathLst>
                <a:path w="83" h="55">
                  <a:moveTo>
                    <a:pt x="10" y="22"/>
                  </a:move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6" y="50"/>
                    <a:pt x="7" y="50"/>
                  </a:cubicBezTo>
                  <a:cubicBezTo>
                    <a:pt x="9" y="50"/>
                    <a:pt x="10" y="49"/>
                    <a:pt x="10" y="48"/>
                  </a:cubicBezTo>
                  <a:lnTo>
                    <a:pt x="10" y="22"/>
                  </a:lnTo>
                  <a:close/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4"/>
                    <a:pt x="7" y="14"/>
                    <a:pt x="9" y="14"/>
                  </a:cubicBezTo>
                  <a:cubicBezTo>
                    <a:pt x="13" y="14"/>
                    <a:pt x="15" y="17"/>
                    <a:pt x="15" y="2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52"/>
                    <a:pt x="13" y="55"/>
                    <a:pt x="9" y="55"/>
                  </a:cubicBezTo>
                  <a:cubicBezTo>
                    <a:pt x="6" y="55"/>
                    <a:pt x="4" y="54"/>
                    <a:pt x="3" y="52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29" y="37"/>
                  </a:moveTo>
                  <a:cubicBezTo>
                    <a:pt x="28" y="37"/>
                    <a:pt x="28" y="37"/>
                    <a:pt x="27" y="38"/>
                  </a:cubicBezTo>
                  <a:cubicBezTo>
                    <a:pt x="27" y="38"/>
                    <a:pt x="26" y="39"/>
                    <a:pt x="25" y="39"/>
                  </a:cubicBezTo>
                  <a:cubicBezTo>
                    <a:pt x="24" y="40"/>
                    <a:pt x="24" y="41"/>
                    <a:pt x="24" y="43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49"/>
                    <a:pt x="25" y="50"/>
                    <a:pt x="26" y="50"/>
                  </a:cubicBezTo>
                  <a:cubicBezTo>
                    <a:pt x="28" y="50"/>
                    <a:pt x="29" y="49"/>
                    <a:pt x="29" y="48"/>
                  </a:cubicBezTo>
                  <a:lnTo>
                    <a:pt x="29" y="37"/>
                  </a:lnTo>
                  <a:close/>
                  <a:moveTo>
                    <a:pt x="19" y="43"/>
                  </a:moveTo>
                  <a:cubicBezTo>
                    <a:pt x="19" y="39"/>
                    <a:pt x="20" y="37"/>
                    <a:pt x="23" y="35"/>
                  </a:cubicBezTo>
                  <a:cubicBezTo>
                    <a:pt x="24" y="34"/>
                    <a:pt x="25" y="34"/>
                    <a:pt x="26" y="32"/>
                  </a:cubicBezTo>
                  <a:cubicBezTo>
                    <a:pt x="27" y="32"/>
                    <a:pt x="28" y="31"/>
                    <a:pt x="29" y="3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0"/>
                    <a:pt x="28" y="19"/>
                    <a:pt x="27" y="19"/>
                  </a:cubicBezTo>
                  <a:cubicBezTo>
                    <a:pt x="25" y="19"/>
                    <a:pt x="24" y="20"/>
                    <a:pt x="24" y="2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17"/>
                    <a:pt x="22" y="14"/>
                    <a:pt x="27" y="14"/>
                  </a:cubicBezTo>
                  <a:cubicBezTo>
                    <a:pt x="31" y="14"/>
                    <a:pt x="33" y="17"/>
                    <a:pt x="33" y="2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8" y="55"/>
                    <a:pt x="27" y="55"/>
                    <a:pt x="25" y="55"/>
                  </a:cubicBezTo>
                  <a:cubicBezTo>
                    <a:pt x="21" y="55"/>
                    <a:pt x="19" y="52"/>
                    <a:pt x="19" y="45"/>
                  </a:cubicBezTo>
                  <a:cubicBezTo>
                    <a:pt x="19" y="43"/>
                    <a:pt x="19" y="43"/>
                    <a:pt x="19" y="43"/>
                  </a:cubicBezTo>
                  <a:close/>
                  <a:moveTo>
                    <a:pt x="43" y="16"/>
                  </a:moveTo>
                  <a:cubicBezTo>
                    <a:pt x="43" y="14"/>
                    <a:pt x="45" y="14"/>
                    <a:pt x="47" y="14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3" y="19"/>
                    <a:pt x="43" y="20"/>
                    <a:pt x="43" y="2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43" y="14"/>
                    <a:pt x="43" y="14"/>
                    <a:pt x="43" y="14"/>
                  </a:cubicBezTo>
                  <a:lnTo>
                    <a:pt x="43" y="16"/>
                  </a:lnTo>
                  <a:close/>
                  <a:moveTo>
                    <a:pt x="50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0" y="55"/>
                    <a:pt x="50" y="55"/>
                    <a:pt x="50" y="55"/>
                  </a:cubicBezTo>
                  <a:lnTo>
                    <a:pt x="50" y="0"/>
                  </a:lnTo>
                  <a:close/>
                  <a:moveTo>
                    <a:pt x="78" y="37"/>
                  </a:moveTo>
                  <a:cubicBezTo>
                    <a:pt x="78" y="37"/>
                    <a:pt x="77" y="37"/>
                    <a:pt x="77" y="38"/>
                  </a:cubicBezTo>
                  <a:cubicBezTo>
                    <a:pt x="76" y="38"/>
                    <a:pt x="75" y="39"/>
                    <a:pt x="75" y="39"/>
                  </a:cubicBezTo>
                  <a:cubicBezTo>
                    <a:pt x="74" y="40"/>
                    <a:pt x="74" y="41"/>
                    <a:pt x="74" y="43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9"/>
                    <a:pt x="74" y="50"/>
                    <a:pt x="76" y="50"/>
                  </a:cubicBezTo>
                  <a:cubicBezTo>
                    <a:pt x="78" y="50"/>
                    <a:pt x="78" y="49"/>
                    <a:pt x="78" y="48"/>
                  </a:cubicBezTo>
                  <a:cubicBezTo>
                    <a:pt x="78" y="37"/>
                    <a:pt x="78" y="37"/>
                    <a:pt x="78" y="37"/>
                  </a:cubicBezTo>
                  <a:close/>
                  <a:moveTo>
                    <a:pt x="69" y="43"/>
                  </a:moveTo>
                  <a:cubicBezTo>
                    <a:pt x="69" y="39"/>
                    <a:pt x="70" y="37"/>
                    <a:pt x="73" y="35"/>
                  </a:cubicBezTo>
                  <a:cubicBezTo>
                    <a:pt x="74" y="34"/>
                    <a:pt x="75" y="34"/>
                    <a:pt x="76" y="32"/>
                  </a:cubicBezTo>
                  <a:cubicBezTo>
                    <a:pt x="77" y="32"/>
                    <a:pt x="78" y="31"/>
                    <a:pt x="78" y="31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0"/>
                    <a:pt x="78" y="19"/>
                    <a:pt x="76" y="19"/>
                  </a:cubicBezTo>
                  <a:cubicBezTo>
                    <a:pt x="75" y="19"/>
                    <a:pt x="74" y="20"/>
                    <a:pt x="74" y="22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17"/>
                    <a:pt x="72" y="14"/>
                    <a:pt x="76" y="14"/>
                  </a:cubicBezTo>
                  <a:cubicBezTo>
                    <a:pt x="81" y="14"/>
                    <a:pt x="83" y="17"/>
                    <a:pt x="83" y="24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5"/>
                    <a:pt x="76" y="55"/>
                    <a:pt x="74" y="55"/>
                  </a:cubicBezTo>
                  <a:cubicBezTo>
                    <a:pt x="70" y="55"/>
                    <a:pt x="69" y="52"/>
                    <a:pt x="69" y="45"/>
                  </a:cubicBezTo>
                  <a:cubicBezTo>
                    <a:pt x="69" y="43"/>
                    <a:pt x="69" y="43"/>
                    <a:pt x="69" y="43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73"/>
            <p:cNvSpPr>
              <a:spLocks noEditPoints="1"/>
            </p:cNvSpPr>
            <p:nvPr/>
          </p:nvSpPr>
          <p:spPr bwMode="auto">
            <a:xfrm>
              <a:off x="3611564" y="1993515"/>
              <a:ext cx="231775" cy="116681"/>
            </a:xfrm>
            <a:custGeom>
              <a:avLst/>
              <a:gdLst/>
              <a:ahLst/>
              <a:cxnLst>
                <a:cxn ang="0">
                  <a:pos x="17" y="19"/>
                </a:cxn>
                <a:cxn ang="0">
                  <a:pos x="15" y="55"/>
                </a:cxn>
                <a:cxn ang="0">
                  <a:pos x="10" y="22"/>
                </a:cxn>
                <a:cxn ang="0">
                  <a:pos x="5" y="22"/>
                </a:cxn>
                <a:cxn ang="0">
                  <a:pos x="0" y="5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8" y="14"/>
                </a:cxn>
                <a:cxn ang="0">
                  <a:pos x="24" y="55"/>
                </a:cxn>
                <a:cxn ang="0">
                  <a:pos x="19" y="22"/>
                </a:cxn>
                <a:cxn ang="0">
                  <a:pos x="38" y="31"/>
                </a:cxn>
                <a:cxn ang="0">
                  <a:pos x="35" y="19"/>
                </a:cxn>
                <a:cxn ang="0">
                  <a:pos x="33" y="31"/>
                </a:cxn>
                <a:cxn ang="0">
                  <a:pos x="35" y="50"/>
                </a:cxn>
                <a:cxn ang="0">
                  <a:pos x="38" y="40"/>
                </a:cxn>
                <a:cxn ang="0">
                  <a:pos x="43" y="45"/>
                </a:cxn>
                <a:cxn ang="0">
                  <a:pos x="29" y="45"/>
                </a:cxn>
                <a:cxn ang="0">
                  <a:pos x="35" y="14"/>
                </a:cxn>
                <a:cxn ang="0">
                  <a:pos x="43" y="36"/>
                </a:cxn>
                <a:cxn ang="0">
                  <a:pos x="33" y="48"/>
                </a:cxn>
                <a:cxn ang="0">
                  <a:pos x="56" y="14"/>
                </a:cxn>
                <a:cxn ang="0">
                  <a:pos x="55" y="19"/>
                </a:cxn>
                <a:cxn ang="0">
                  <a:pos x="52" y="55"/>
                </a:cxn>
                <a:cxn ang="0">
                  <a:pos x="47" y="14"/>
                </a:cxn>
                <a:cxn ang="0">
                  <a:pos x="52" y="16"/>
                </a:cxn>
                <a:cxn ang="0">
                  <a:pos x="66" y="19"/>
                </a:cxn>
                <a:cxn ang="0">
                  <a:pos x="64" y="26"/>
                </a:cxn>
                <a:cxn ang="0">
                  <a:pos x="73" y="45"/>
                </a:cxn>
                <a:cxn ang="0">
                  <a:pos x="59" y="45"/>
                </a:cxn>
                <a:cxn ang="0">
                  <a:pos x="64" y="43"/>
                </a:cxn>
                <a:cxn ang="0">
                  <a:pos x="66" y="50"/>
                </a:cxn>
                <a:cxn ang="0">
                  <a:pos x="68" y="44"/>
                </a:cxn>
                <a:cxn ang="0">
                  <a:pos x="59" y="25"/>
                </a:cxn>
                <a:cxn ang="0">
                  <a:pos x="73" y="25"/>
                </a:cxn>
                <a:cxn ang="0">
                  <a:pos x="68" y="28"/>
                </a:cxn>
                <a:cxn ang="0">
                  <a:pos x="82" y="7"/>
                </a:cxn>
                <a:cxn ang="0">
                  <a:pos x="77" y="0"/>
                </a:cxn>
                <a:cxn ang="0">
                  <a:pos x="82" y="7"/>
                </a:cxn>
                <a:cxn ang="0">
                  <a:pos x="77" y="55"/>
                </a:cxn>
                <a:cxn ang="0">
                  <a:pos x="82" y="14"/>
                </a:cxn>
              </a:cxnLst>
              <a:rect l="0" t="0" r="r" b="b"/>
              <a:pathLst>
                <a:path w="82" h="55">
                  <a:moveTo>
                    <a:pt x="19" y="22"/>
                  </a:moveTo>
                  <a:cubicBezTo>
                    <a:pt x="19" y="20"/>
                    <a:pt x="19" y="19"/>
                    <a:pt x="17" y="19"/>
                  </a:cubicBezTo>
                  <a:cubicBezTo>
                    <a:pt x="15" y="19"/>
                    <a:pt x="15" y="20"/>
                    <a:pt x="15" y="22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0"/>
                    <a:pt x="9" y="19"/>
                    <a:pt x="7" y="19"/>
                  </a:cubicBezTo>
                  <a:cubicBezTo>
                    <a:pt x="6" y="19"/>
                    <a:pt x="5" y="20"/>
                    <a:pt x="5" y="22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4"/>
                    <a:pt x="7" y="14"/>
                    <a:pt x="9" y="14"/>
                  </a:cubicBezTo>
                  <a:cubicBezTo>
                    <a:pt x="11" y="14"/>
                    <a:pt x="12" y="15"/>
                    <a:pt x="14" y="17"/>
                  </a:cubicBezTo>
                  <a:cubicBezTo>
                    <a:pt x="14" y="15"/>
                    <a:pt x="16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5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49"/>
                    <a:pt x="34" y="50"/>
                    <a:pt x="35" y="50"/>
                  </a:cubicBezTo>
                  <a:cubicBezTo>
                    <a:pt x="37" y="50"/>
                    <a:pt x="38" y="49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3" y="52"/>
                    <a:pt x="41" y="55"/>
                    <a:pt x="35" y="55"/>
                  </a:cubicBezTo>
                  <a:cubicBezTo>
                    <a:pt x="31" y="55"/>
                    <a:pt x="29" y="52"/>
                    <a:pt x="29" y="45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17"/>
                    <a:pt x="31" y="14"/>
                    <a:pt x="35" y="14"/>
                  </a:cubicBezTo>
                  <a:cubicBezTo>
                    <a:pt x="41" y="14"/>
                    <a:pt x="43" y="17"/>
                    <a:pt x="43" y="24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33" y="36"/>
                    <a:pt x="33" y="36"/>
                    <a:pt x="33" y="36"/>
                  </a:cubicBezTo>
                  <a:lnTo>
                    <a:pt x="33" y="48"/>
                  </a:lnTo>
                  <a:close/>
                  <a:moveTo>
                    <a:pt x="52" y="16"/>
                  </a:moveTo>
                  <a:cubicBezTo>
                    <a:pt x="53" y="14"/>
                    <a:pt x="54" y="14"/>
                    <a:pt x="56" y="14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19"/>
                    <a:pt x="55" y="19"/>
                    <a:pt x="55" y="19"/>
                  </a:cubicBezTo>
                  <a:cubicBezTo>
                    <a:pt x="53" y="19"/>
                    <a:pt x="52" y="20"/>
                    <a:pt x="52" y="22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6"/>
                    <a:pt x="52" y="16"/>
                    <a:pt x="52" y="16"/>
                  </a:cubicBezTo>
                  <a:close/>
                  <a:moveTo>
                    <a:pt x="68" y="22"/>
                  </a:moveTo>
                  <a:cubicBezTo>
                    <a:pt x="68" y="20"/>
                    <a:pt x="67" y="19"/>
                    <a:pt x="66" y="19"/>
                  </a:cubicBezTo>
                  <a:cubicBezTo>
                    <a:pt x="64" y="19"/>
                    <a:pt x="64" y="19"/>
                    <a:pt x="64" y="22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8"/>
                    <a:pt x="65" y="31"/>
                    <a:pt x="68" y="34"/>
                  </a:cubicBezTo>
                  <a:cubicBezTo>
                    <a:pt x="71" y="38"/>
                    <a:pt x="73" y="41"/>
                    <a:pt x="73" y="45"/>
                  </a:cubicBezTo>
                  <a:cubicBezTo>
                    <a:pt x="73" y="52"/>
                    <a:pt x="70" y="55"/>
                    <a:pt x="66" y="55"/>
                  </a:cubicBezTo>
                  <a:cubicBezTo>
                    <a:pt x="61" y="55"/>
                    <a:pt x="59" y="52"/>
                    <a:pt x="59" y="45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50"/>
                    <a:pt x="64" y="50"/>
                    <a:pt x="66" y="50"/>
                  </a:cubicBezTo>
                  <a:cubicBezTo>
                    <a:pt x="67" y="50"/>
                    <a:pt x="68" y="50"/>
                    <a:pt x="68" y="4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1"/>
                    <a:pt x="66" y="39"/>
                    <a:pt x="64" y="36"/>
                  </a:cubicBezTo>
                  <a:cubicBezTo>
                    <a:pt x="61" y="32"/>
                    <a:pt x="59" y="29"/>
                    <a:pt x="59" y="25"/>
                  </a:cubicBezTo>
                  <a:cubicBezTo>
                    <a:pt x="59" y="18"/>
                    <a:pt x="61" y="14"/>
                    <a:pt x="66" y="14"/>
                  </a:cubicBezTo>
                  <a:cubicBezTo>
                    <a:pt x="70" y="14"/>
                    <a:pt x="73" y="18"/>
                    <a:pt x="73" y="25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68" y="28"/>
                    <a:pt x="68" y="28"/>
                    <a:pt x="68" y="28"/>
                  </a:cubicBezTo>
                  <a:lnTo>
                    <a:pt x="68" y="22"/>
                  </a:lnTo>
                  <a:close/>
                  <a:moveTo>
                    <a:pt x="82" y="7"/>
                  </a:moveTo>
                  <a:cubicBezTo>
                    <a:pt x="77" y="7"/>
                    <a:pt x="77" y="7"/>
                    <a:pt x="77" y="7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82" y="7"/>
                  </a:lnTo>
                  <a:close/>
                  <a:moveTo>
                    <a:pt x="82" y="55"/>
                  </a:moveTo>
                  <a:cubicBezTo>
                    <a:pt x="77" y="55"/>
                    <a:pt x="77" y="55"/>
                    <a:pt x="77" y="55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2" y="55"/>
                    <a:pt x="82" y="55"/>
                    <a:pt x="82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74"/>
            <p:cNvSpPr>
              <a:spLocks noEditPoints="1"/>
            </p:cNvSpPr>
            <p:nvPr/>
          </p:nvSpPr>
          <p:spPr bwMode="auto">
            <a:xfrm>
              <a:off x="1109663" y="2372133"/>
              <a:ext cx="158750" cy="171450"/>
            </a:xfrm>
            <a:custGeom>
              <a:avLst/>
              <a:gdLst/>
              <a:ahLst/>
              <a:cxnLst>
                <a:cxn ang="0">
                  <a:pos x="20" y="74"/>
                </a:cxn>
                <a:cxn ang="0">
                  <a:pos x="56" y="76"/>
                </a:cxn>
                <a:cxn ang="0">
                  <a:pos x="15" y="81"/>
                </a:cxn>
                <a:cxn ang="0">
                  <a:pos x="17" y="76"/>
                </a:cxn>
                <a:cxn ang="0">
                  <a:pos x="25" y="66"/>
                </a:cxn>
                <a:cxn ang="0">
                  <a:pos x="56" y="71"/>
                </a:cxn>
                <a:cxn ang="0">
                  <a:pos x="38" y="52"/>
                </a:cxn>
                <a:cxn ang="0">
                  <a:pos x="40" y="56"/>
                </a:cxn>
                <a:cxn ang="0">
                  <a:pos x="48" y="57"/>
                </a:cxn>
                <a:cxn ang="0">
                  <a:pos x="48" y="52"/>
                </a:cxn>
                <a:cxn ang="0">
                  <a:pos x="43" y="62"/>
                </a:cxn>
                <a:cxn ang="0">
                  <a:pos x="34" y="55"/>
                </a:cxn>
                <a:cxn ang="0">
                  <a:pos x="23" y="52"/>
                </a:cxn>
                <a:cxn ang="0">
                  <a:pos x="23" y="57"/>
                </a:cxn>
                <a:cxn ang="0">
                  <a:pos x="30" y="61"/>
                </a:cxn>
                <a:cxn ang="0">
                  <a:pos x="15" y="54"/>
                </a:cxn>
                <a:cxn ang="0">
                  <a:pos x="56" y="47"/>
                </a:cxn>
                <a:cxn ang="0">
                  <a:pos x="54" y="52"/>
                </a:cxn>
                <a:cxn ang="0">
                  <a:pos x="47" y="62"/>
                </a:cxn>
                <a:cxn ang="0">
                  <a:pos x="23" y="33"/>
                </a:cxn>
                <a:cxn ang="0">
                  <a:pos x="23" y="38"/>
                </a:cxn>
                <a:cxn ang="0">
                  <a:pos x="56" y="43"/>
                </a:cxn>
                <a:cxn ang="0">
                  <a:pos x="15" y="38"/>
                </a:cxn>
                <a:cxn ang="0">
                  <a:pos x="15" y="34"/>
                </a:cxn>
                <a:cxn ang="0">
                  <a:pos x="56" y="29"/>
                </a:cxn>
                <a:cxn ang="0">
                  <a:pos x="23" y="33"/>
                </a:cxn>
                <a:cxn ang="0">
                  <a:pos x="20" y="17"/>
                </a:cxn>
                <a:cxn ang="0">
                  <a:pos x="56" y="19"/>
                </a:cxn>
                <a:cxn ang="0">
                  <a:pos x="15" y="24"/>
                </a:cxn>
                <a:cxn ang="0">
                  <a:pos x="17" y="19"/>
                </a:cxn>
                <a:cxn ang="0">
                  <a:pos x="25" y="9"/>
                </a:cxn>
                <a:cxn ang="0">
                  <a:pos x="56" y="15"/>
                </a:cxn>
                <a:cxn ang="0">
                  <a:pos x="8" y="0"/>
                </a:cxn>
                <a:cxn ang="0">
                  <a:pos x="0" y="5"/>
                </a:cxn>
                <a:cxn ang="0">
                  <a:pos x="8" y="0"/>
                </a:cxn>
                <a:cxn ang="0">
                  <a:pos x="56" y="5"/>
                </a:cxn>
                <a:cxn ang="0">
                  <a:pos x="15" y="0"/>
                </a:cxn>
              </a:cxnLst>
              <a:rect l="0" t="0" r="r" b="b"/>
              <a:pathLst>
                <a:path w="56" h="81">
                  <a:moveTo>
                    <a:pt x="23" y="71"/>
                  </a:moveTo>
                  <a:cubicBezTo>
                    <a:pt x="21" y="71"/>
                    <a:pt x="20" y="72"/>
                    <a:pt x="20" y="74"/>
                  </a:cubicBezTo>
                  <a:cubicBezTo>
                    <a:pt x="20" y="75"/>
                    <a:pt x="21" y="76"/>
                    <a:pt x="23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16" y="75"/>
                    <a:pt x="15" y="74"/>
                    <a:pt x="15" y="72"/>
                  </a:cubicBezTo>
                  <a:cubicBezTo>
                    <a:pt x="15" y="68"/>
                    <a:pt x="18" y="66"/>
                    <a:pt x="25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23" y="71"/>
                    <a:pt x="23" y="71"/>
                    <a:pt x="23" y="71"/>
                  </a:cubicBezTo>
                  <a:close/>
                  <a:moveTo>
                    <a:pt x="38" y="52"/>
                  </a:moveTo>
                  <a:cubicBezTo>
                    <a:pt x="38" y="53"/>
                    <a:pt x="38" y="53"/>
                    <a:pt x="39" y="54"/>
                  </a:cubicBezTo>
                  <a:cubicBezTo>
                    <a:pt x="39" y="54"/>
                    <a:pt x="39" y="55"/>
                    <a:pt x="40" y="56"/>
                  </a:cubicBezTo>
                  <a:cubicBezTo>
                    <a:pt x="40" y="57"/>
                    <a:pt x="42" y="57"/>
                    <a:pt x="44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50" y="57"/>
                    <a:pt x="52" y="56"/>
                    <a:pt x="52" y="55"/>
                  </a:cubicBezTo>
                  <a:cubicBezTo>
                    <a:pt x="52" y="53"/>
                    <a:pt x="50" y="52"/>
                    <a:pt x="48" y="52"/>
                  </a:cubicBezTo>
                  <a:lnTo>
                    <a:pt x="38" y="52"/>
                  </a:lnTo>
                  <a:close/>
                  <a:moveTo>
                    <a:pt x="43" y="62"/>
                  </a:moveTo>
                  <a:cubicBezTo>
                    <a:pt x="40" y="62"/>
                    <a:pt x="38" y="61"/>
                    <a:pt x="36" y="58"/>
                  </a:cubicBezTo>
                  <a:cubicBezTo>
                    <a:pt x="35" y="57"/>
                    <a:pt x="34" y="56"/>
                    <a:pt x="34" y="55"/>
                  </a:cubicBezTo>
                  <a:cubicBezTo>
                    <a:pt x="33" y="54"/>
                    <a:pt x="32" y="53"/>
                    <a:pt x="32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1" y="52"/>
                    <a:pt x="20" y="53"/>
                    <a:pt x="20" y="54"/>
                  </a:cubicBezTo>
                  <a:cubicBezTo>
                    <a:pt x="20" y="56"/>
                    <a:pt x="21" y="57"/>
                    <a:pt x="23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18" y="61"/>
                    <a:pt x="15" y="59"/>
                    <a:pt x="15" y="54"/>
                  </a:cubicBezTo>
                  <a:cubicBezTo>
                    <a:pt x="15" y="50"/>
                    <a:pt x="18" y="47"/>
                    <a:pt x="25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6" y="53"/>
                    <a:pt x="56" y="54"/>
                    <a:pt x="56" y="56"/>
                  </a:cubicBezTo>
                  <a:cubicBezTo>
                    <a:pt x="56" y="60"/>
                    <a:pt x="53" y="62"/>
                    <a:pt x="47" y="62"/>
                  </a:cubicBezTo>
                  <a:cubicBezTo>
                    <a:pt x="43" y="62"/>
                    <a:pt x="43" y="62"/>
                    <a:pt x="43" y="62"/>
                  </a:cubicBezTo>
                  <a:close/>
                  <a:moveTo>
                    <a:pt x="23" y="33"/>
                  </a:moveTo>
                  <a:cubicBezTo>
                    <a:pt x="21" y="33"/>
                    <a:pt x="20" y="34"/>
                    <a:pt x="20" y="36"/>
                  </a:cubicBezTo>
                  <a:cubicBezTo>
                    <a:pt x="20" y="38"/>
                    <a:pt x="21" y="38"/>
                    <a:pt x="23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38"/>
                    <a:pt x="15" y="36"/>
                    <a:pt x="15" y="34"/>
                  </a:cubicBezTo>
                  <a:cubicBezTo>
                    <a:pt x="15" y="30"/>
                    <a:pt x="18" y="29"/>
                    <a:pt x="25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33"/>
                    <a:pt x="56" y="33"/>
                    <a:pt x="56" y="33"/>
                  </a:cubicBezTo>
                  <a:lnTo>
                    <a:pt x="23" y="33"/>
                  </a:lnTo>
                  <a:close/>
                  <a:moveTo>
                    <a:pt x="23" y="15"/>
                  </a:moveTo>
                  <a:cubicBezTo>
                    <a:pt x="21" y="15"/>
                    <a:pt x="20" y="15"/>
                    <a:pt x="20" y="17"/>
                  </a:cubicBezTo>
                  <a:cubicBezTo>
                    <a:pt x="20" y="18"/>
                    <a:pt x="21" y="19"/>
                    <a:pt x="23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6" y="18"/>
                    <a:pt x="15" y="17"/>
                    <a:pt x="15" y="15"/>
                  </a:cubicBezTo>
                  <a:cubicBezTo>
                    <a:pt x="15" y="11"/>
                    <a:pt x="18" y="9"/>
                    <a:pt x="25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23" y="15"/>
                    <a:pt x="23" y="15"/>
                    <a:pt x="23" y="15"/>
                  </a:cubicBez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5"/>
            <p:cNvSpPr>
              <a:spLocks noEditPoints="1"/>
            </p:cNvSpPr>
            <p:nvPr/>
          </p:nvSpPr>
          <p:spPr bwMode="auto">
            <a:xfrm>
              <a:off x="1531938" y="2288790"/>
              <a:ext cx="230188" cy="11668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7" y="29"/>
                </a:cxn>
                <a:cxn ang="0">
                  <a:pos x="17" y="14"/>
                </a:cxn>
                <a:cxn ang="0">
                  <a:pos x="16" y="55"/>
                </a:cxn>
                <a:cxn ang="0">
                  <a:pos x="7" y="40"/>
                </a:cxn>
                <a:cxn ang="0">
                  <a:pos x="5" y="55"/>
                </a:cxn>
                <a:cxn ang="0">
                  <a:pos x="0" y="0"/>
                </a:cxn>
                <a:cxn ang="0">
                  <a:pos x="19" y="7"/>
                </a:cxn>
                <a:cxn ang="0">
                  <a:pos x="24" y="0"/>
                </a:cxn>
                <a:cxn ang="0">
                  <a:pos x="24" y="55"/>
                </a:cxn>
                <a:cxn ang="0">
                  <a:pos x="19" y="14"/>
                </a:cxn>
                <a:cxn ang="0">
                  <a:pos x="24" y="55"/>
                </a:cxn>
                <a:cxn ang="0">
                  <a:pos x="28" y="7"/>
                </a:cxn>
                <a:cxn ang="0">
                  <a:pos x="33" y="0"/>
                </a:cxn>
                <a:cxn ang="0">
                  <a:pos x="33" y="55"/>
                </a:cxn>
                <a:cxn ang="0">
                  <a:pos x="28" y="14"/>
                </a:cxn>
                <a:cxn ang="0">
                  <a:pos x="33" y="55"/>
                </a:cxn>
                <a:cxn ang="0">
                  <a:pos x="37" y="14"/>
                </a:cxn>
                <a:cxn ang="0">
                  <a:pos x="43" y="0"/>
                </a:cxn>
                <a:cxn ang="0">
                  <a:pos x="45" y="14"/>
                </a:cxn>
                <a:cxn ang="0">
                  <a:pos x="43" y="19"/>
                </a:cxn>
                <a:cxn ang="0">
                  <a:pos x="45" y="50"/>
                </a:cxn>
                <a:cxn ang="0">
                  <a:pos x="37" y="45"/>
                </a:cxn>
                <a:cxn ang="0">
                  <a:pos x="36" y="19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55" y="50"/>
                </a:cxn>
                <a:cxn ang="0">
                  <a:pos x="58" y="21"/>
                </a:cxn>
                <a:cxn ang="0">
                  <a:pos x="55" y="55"/>
                </a:cxn>
                <a:cxn ang="0">
                  <a:pos x="48" y="24"/>
                </a:cxn>
                <a:cxn ang="0">
                  <a:pos x="63" y="24"/>
                </a:cxn>
                <a:cxn ang="0">
                  <a:pos x="76" y="21"/>
                </a:cxn>
                <a:cxn ang="0">
                  <a:pos x="72" y="21"/>
                </a:cxn>
                <a:cxn ang="0">
                  <a:pos x="76" y="34"/>
                </a:cxn>
                <a:cxn ang="0">
                  <a:pos x="73" y="55"/>
                </a:cxn>
                <a:cxn ang="0">
                  <a:pos x="67" y="43"/>
                </a:cxn>
                <a:cxn ang="0">
                  <a:pos x="72" y="47"/>
                </a:cxn>
                <a:cxn ang="0">
                  <a:pos x="76" y="47"/>
                </a:cxn>
                <a:cxn ang="0">
                  <a:pos x="71" y="36"/>
                </a:cxn>
                <a:cxn ang="0">
                  <a:pos x="73" y="14"/>
                </a:cxn>
                <a:cxn ang="0">
                  <a:pos x="80" y="28"/>
                </a:cxn>
                <a:cxn ang="0">
                  <a:pos x="76" y="21"/>
                </a:cxn>
              </a:cxnLst>
              <a:rect l="0" t="0" r="r" b="b"/>
              <a:pathLst>
                <a:path w="81" h="55"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lnTo>
                    <a:pt x="0" y="0"/>
                  </a:lnTo>
                  <a:close/>
                  <a:moveTo>
                    <a:pt x="24" y="7"/>
                  </a:moveTo>
                  <a:cubicBezTo>
                    <a:pt x="19" y="7"/>
                    <a:pt x="19" y="7"/>
                    <a:pt x="19" y="7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7"/>
                  </a:lnTo>
                  <a:close/>
                  <a:moveTo>
                    <a:pt x="24" y="55"/>
                  </a:moveTo>
                  <a:cubicBezTo>
                    <a:pt x="19" y="55"/>
                    <a:pt x="19" y="55"/>
                    <a:pt x="19" y="5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4" y="14"/>
                    <a:pt x="24" y="14"/>
                    <a:pt x="24" y="14"/>
                  </a:cubicBezTo>
                  <a:lnTo>
                    <a:pt x="24" y="55"/>
                  </a:lnTo>
                  <a:close/>
                  <a:moveTo>
                    <a:pt x="33" y="7"/>
                  </a:moveTo>
                  <a:cubicBezTo>
                    <a:pt x="28" y="7"/>
                    <a:pt x="28" y="7"/>
                    <a:pt x="28" y="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3" y="7"/>
                  </a:lnTo>
                  <a:close/>
                  <a:moveTo>
                    <a:pt x="33" y="55"/>
                  </a:moveTo>
                  <a:cubicBezTo>
                    <a:pt x="28" y="55"/>
                    <a:pt x="28" y="55"/>
                    <a:pt x="28" y="55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3" y="14"/>
                    <a:pt x="33" y="14"/>
                    <a:pt x="33" y="14"/>
                  </a:cubicBezTo>
                  <a:lnTo>
                    <a:pt x="33" y="55"/>
                  </a:lnTo>
                  <a:close/>
                  <a:moveTo>
                    <a:pt x="36" y="14"/>
                  </a:moveTo>
                  <a:cubicBezTo>
                    <a:pt x="37" y="14"/>
                    <a:pt x="37" y="14"/>
                    <a:pt x="37" y="1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9"/>
                    <a:pt x="43" y="50"/>
                    <a:pt x="45" y="50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0" y="55"/>
                    <a:pt x="37" y="52"/>
                    <a:pt x="37" y="45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6" y="19"/>
                    <a:pt x="36" y="19"/>
                    <a:pt x="36" y="19"/>
                  </a:cubicBezTo>
                  <a:lnTo>
                    <a:pt x="36" y="14"/>
                  </a:lnTo>
                  <a:close/>
                  <a:moveTo>
                    <a:pt x="58" y="21"/>
                  </a:moveTo>
                  <a:cubicBezTo>
                    <a:pt x="58" y="20"/>
                    <a:pt x="57" y="19"/>
                    <a:pt x="55" y="19"/>
                  </a:cubicBezTo>
                  <a:cubicBezTo>
                    <a:pt x="54" y="19"/>
                    <a:pt x="53" y="20"/>
                    <a:pt x="53" y="21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9"/>
                    <a:pt x="54" y="50"/>
                    <a:pt x="55" y="50"/>
                  </a:cubicBezTo>
                  <a:cubicBezTo>
                    <a:pt x="57" y="50"/>
                    <a:pt x="58" y="49"/>
                    <a:pt x="58" y="47"/>
                  </a:cubicBezTo>
                  <a:lnTo>
                    <a:pt x="58" y="21"/>
                  </a:lnTo>
                  <a:close/>
                  <a:moveTo>
                    <a:pt x="63" y="45"/>
                  </a:moveTo>
                  <a:cubicBezTo>
                    <a:pt x="63" y="52"/>
                    <a:pt x="60" y="55"/>
                    <a:pt x="55" y="55"/>
                  </a:cubicBezTo>
                  <a:cubicBezTo>
                    <a:pt x="51" y="55"/>
                    <a:pt x="48" y="52"/>
                    <a:pt x="48" y="45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7"/>
                    <a:pt x="51" y="14"/>
                    <a:pt x="55" y="14"/>
                  </a:cubicBezTo>
                  <a:cubicBezTo>
                    <a:pt x="60" y="14"/>
                    <a:pt x="63" y="17"/>
                    <a:pt x="63" y="24"/>
                  </a:cubicBezTo>
                  <a:lnTo>
                    <a:pt x="63" y="45"/>
                  </a:lnTo>
                  <a:close/>
                  <a:moveTo>
                    <a:pt x="76" y="21"/>
                  </a:moveTo>
                  <a:cubicBezTo>
                    <a:pt x="76" y="19"/>
                    <a:pt x="75" y="19"/>
                    <a:pt x="73" y="19"/>
                  </a:cubicBezTo>
                  <a:cubicBezTo>
                    <a:pt x="72" y="19"/>
                    <a:pt x="72" y="19"/>
                    <a:pt x="72" y="21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7"/>
                    <a:pt x="73" y="30"/>
                    <a:pt x="76" y="34"/>
                  </a:cubicBezTo>
                  <a:cubicBezTo>
                    <a:pt x="79" y="37"/>
                    <a:pt x="81" y="41"/>
                    <a:pt x="81" y="45"/>
                  </a:cubicBezTo>
                  <a:cubicBezTo>
                    <a:pt x="81" y="51"/>
                    <a:pt x="78" y="55"/>
                    <a:pt x="73" y="55"/>
                  </a:cubicBezTo>
                  <a:cubicBezTo>
                    <a:pt x="69" y="55"/>
                    <a:pt x="67" y="51"/>
                    <a:pt x="67" y="45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9"/>
                    <a:pt x="72" y="50"/>
                    <a:pt x="73" y="50"/>
                  </a:cubicBezTo>
                  <a:cubicBezTo>
                    <a:pt x="75" y="50"/>
                    <a:pt x="76" y="49"/>
                    <a:pt x="76" y="47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1"/>
                    <a:pt x="74" y="38"/>
                    <a:pt x="71" y="36"/>
                  </a:cubicBezTo>
                  <a:cubicBezTo>
                    <a:pt x="68" y="32"/>
                    <a:pt x="67" y="28"/>
                    <a:pt x="67" y="24"/>
                  </a:cubicBezTo>
                  <a:cubicBezTo>
                    <a:pt x="67" y="17"/>
                    <a:pt x="69" y="14"/>
                    <a:pt x="73" y="14"/>
                  </a:cubicBezTo>
                  <a:cubicBezTo>
                    <a:pt x="78" y="14"/>
                    <a:pt x="80" y="17"/>
                    <a:pt x="80" y="24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1"/>
                    <a:pt x="76" y="21"/>
                    <a:pt x="76" y="21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auto">
            <a:xfrm>
              <a:off x="7221538" y="3740162"/>
              <a:ext cx="134938" cy="195263"/>
            </a:xfrm>
            <a:custGeom>
              <a:avLst/>
              <a:gdLst/>
              <a:ahLst/>
              <a:cxnLst>
                <a:cxn ang="0">
                  <a:pos x="11" y="75"/>
                </a:cxn>
                <a:cxn ang="0">
                  <a:pos x="48" y="78"/>
                </a:cxn>
                <a:cxn ang="0">
                  <a:pos x="14" y="83"/>
                </a:cxn>
                <a:cxn ang="0">
                  <a:pos x="14" y="88"/>
                </a:cxn>
                <a:cxn ang="0">
                  <a:pos x="48" y="92"/>
                </a:cxn>
                <a:cxn ang="0">
                  <a:pos x="6" y="88"/>
                </a:cxn>
                <a:cxn ang="0">
                  <a:pos x="6" y="84"/>
                </a:cxn>
                <a:cxn ang="0">
                  <a:pos x="6" y="74"/>
                </a:cxn>
                <a:cxn ang="0">
                  <a:pos x="48" y="69"/>
                </a:cxn>
                <a:cxn ang="0">
                  <a:pos x="14" y="73"/>
                </a:cxn>
                <a:cxn ang="0">
                  <a:pos x="23" y="54"/>
                </a:cxn>
                <a:cxn ang="0">
                  <a:pos x="11" y="57"/>
                </a:cxn>
                <a:cxn ang="0">
                  <a:pos x="23" y="59"/>
                </a:cxn>
                <a:cxn ang="0">
                  <a:pos x="42" y="57"/>
                </a:cxn>
                <a:cxn ang="0">
                  <a:pos x="32" y="54"/>
                </a:cxn>
                <a:cxn ang="0">
                  <a:pos x="37" y="49"/>
                </a:cxn>
                <a:cxn ang="0">
                  <a:pos x="37" y="64"/>
                </a:cxn>
                <a:cxn ang="0">
                  <a:pos x="6" y="57"/>
                </a:cxn>
                <a:cxn ang="0">
                  <a:pos x="28" y="49"/>
                </a:cxn>
                <a:cxn ang="0">
                  <a:pos x="40" y="59"/>
                </a:cxn>
                <a:cxn ang="0">
                  <a:pos x="6" y="36"/>
                </a:cxn>
                <a:cxn ang="0">
                  <a:pos x="11" y="38"/>
                </a:cxn>
                <a:cxn ang="0">
                  <a:pos x="48" y="40"/>
                </a:cxn>
                <a:cxn ang="0">
                  <a:pos x="6" y="45"/>
                </a:cxn>
                <a:cxn ang="0">
                  <a:pos x="8" y="40"/>
                </a:cxn>
                <a:cxn ang="0">
                  <a:pos x="11" y="26"/>
                </a:cxn>
                <a:cxn ang="0">
                  <a:pos x="40" y="28"/>
                </a:cxn>
                <a:cxn ang="0">
                  <a:pos x="40" y="23"/>
                </a:cxn>
                <a:cxn ang="0">
                  <a:pos x="32" y="19"/>
                </a:cxn>
                <a:cxn ang="0">
                  <a:pos x="48" y="26"/>
                </a:cxn>
                <a:cxn ang="0">
                  <a:pos x="16" y="33"/>
                </a:cxn>
                <a:cxn ang="0">
                  <a:pos x="16" y="19"/>
                </a:cxn>
                <a:cxn ang="0">
                  <a:pos x="22" y="23"/>
                </a:cxn>
                <a:cxn ang="0">
                  <a:pos x="23" y="10"/>
                </a:cxn>
                <a:cxn ang="0">
                  <a:pos x="14" y="4"/>
                </a:cxn>
                <a:cxn ang="0">
                  <a:pos x="14" y="10"/>
                </a:cxn>
                <a:cxn ang="0">
                  <a:pos x="40" y="10"/>
                </a:cxn>
                <a:cxn ang="0">
                  <a:pos x="40" y="4"/>
                </a:cxn>
                <a:cxn ang="0">
                  <a:pos x="32" y="0"/>
                </a:cxn>
                <a:cxn ang="0">
                  <a:pos x="48" y="7"/>
                </a:cxn>
                <a:cxn ang="0">
                  <a:pos x="16" y="14"/>
                </a:cxn>
                <a:cxn ang="0">
                  <a:pos x="16" y="0"/>
                </a:cxn>
                <a:cxn ang="0">
                  <a:pos x="28" y="10"/>
                </a:cxn>
                <a:cxn ang="0">
                  <a:pos x="0" y="0"/>
                </a:cxn>
                <a:cxn ang="0">
                  <a:pos x="4" y="10"/>
                </a:cxn>
                <a:cxn ang="0">
                  <a:pos x="0" y="0"/>
                </a:cxn>
              </a:cxnLst>
              <a:rect l="0" t="0" r="r" b="b"/>
              <a:pathLst>
                <a:path w="48" h="92">
                  <a:moveTo>
                    <a:pt x="14" y="73"/>
                  </a:moveTo>
                  <a:cubicBezTo>
                    <a:pt x="12" y="73"/>
                    <a:pt x="11" y="74"/>
                    <a:pt x="11" y="75"/>
                  </a:cubicBezTo>
                  <a:cubicBezTo>
                    <a:pt x="11" y="77"/>
                    <a:pt x="12" y="78"/>
                    <a:pt x="14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2" y="83"/>
                    <a:pt x="11" y="84"/>
                    <a:pt x="11" y="85"/>
                  </a:cubicBezTo>
                  <a:cubicBezTo>
                    <a:pt x="11" y="87"/>
                    <a:pt x="12" y="88"/>
                    <a:pt x="14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6" y="92"/>
                    <a:pt x="6" y="92"/>
                    <a:pt x="6" y="92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7" y="87"/>
                    <a:pt x="6" y="86"/>
                    <a:pt x="6" y="84"/>
                  </a:cubicBezTo>
                  <a:cubicBezTo>
                    <a:pt x="6" y="81"/>
                    <a:pt x="7" y="80"/>
                    <a:pt x="9" y="79"/>
                  </a:cubicBezTo>
                  <a:cubicBezTo>
                    <a:pt x="7" y="78"/>
                    <a:pt x="6" y="76"/>
                    <a:pt x="6" y="74"/>
                  </a:cubicBezTo>
                  <a:cubicBezTo>
                    <a:pt x="6" y="70"/>
                    <a:pt x="9" y="69"/>
                    <a:pt x="16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14" y="73"/>
                    <a:pt x="14" y="73"/>
                    <a:pt x="14" y="73"/>
                  </a:cubicBezTo>
                  <a:close/>
                  <a:moveTo>
                    <a:pt x="23" y="59"/>
                  </a:moveTo>
                  <a:cubicBezTo>
                    <a:pt x="23" y="54"/>
                    <a:pt x="23" y="54"/>
                    <a:pt x="23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2" y="54"/>
                    <a:pt x="11" y="55"/>
                    <a:pt x="11" y="57"/>
                  </a:cubicBezTo>
                  <a:cubicBezTo>
                    <a:pt x="11" y="58"/>
                    <a:pt x="12" y="59"/>
                    <a:pt x="14" y="59"/>
                  </a:cubicBezTo>
                  <a:lnTo>
                    <a:pt x="23" y="59"/>
                  </a:lnTo>
                  <a:close/>
                  <a:moveTo>
                    <a:pt x="40" y="59"/>
                  </a:moveTo>
                  <a:cubicBezTo>
                    <a:pt x="41" y="59"/>
                    <a:pt x="42" y="58"/>
                    <a:pt x="42" y="57"/>
                  </a:cubicBezTo>
                  <a:cubicBezTo>
                    <a:pt x="42" y="55"/>
                    <a:pt x="41" y="54"/>
                    <a:pt x="40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44" y="49"/>
                    <a:pt x="48" y="52"/>
                    <a:pt x="48" y="57"/>
                  </a:cubicBezTo>
                  <a:cubicBezTo>
                    <a:pt x="48" y="61"/>
                    <a:pt x="44" y="64"/>
                    <a:pt x="37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9" y="64"/>
                    <a:pt x="6" y="61"/>
                    <a:pt x="6" y="57"/>
                  </a:cubicBezTo>
                  <a:cubicBezTo>
                    <a:pt x="6" y="52"/>
                    <a:pt x="9" y="49"/>
                    <a:pt x="16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8" y="59"/>
                    <a:pt x="28" y="59"/>
                    <a:pt x="28" y="59"/>
                  </a:cubicBezTo>
                  <a:cubicBezTo>
                    <a:pt x="40" y="59"/>
                    <a:pt x="40" y="59"/>
                    <a:pt x="40" y="59"/>
                  </a:cubicBezTo>
                  <a:close/>
                  <a:moveTo>
                    <a:pt x="8" y="40"/>
                  </a:moveTo>
                  <a:cubicBezTo>
                    <a:pt x="7" y="40"/>
                    <a:pt x="6" y="38"/>
                    <a:pt x="6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7"/>
                    <a:pt x="11" y="37"/>
                    <a:pt x="11" y="38"/>
                  </a:cubicBezTo>
                  <a:cubicBezTo>
                    <a:pt x="11" y="39"/>
                    <a:pt x="12" y="40"/>
                    <a:pt x="14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0"/>
                    <a:pt x="6" y="40"/>
                    <a:pt x="6" y="40"/>
                  </a:cubicBezTo>
                  <a:lnTo>
                    <a:pt x="8" y="40"/>
                  </a:lnTo>
                  <a:close/>
                  <a:moveTo>
                    <a:pt x="14" y="23"/>
                  </a:moveTo>
                  <a:cubicBezTo>
                    <a:pt x="12" y="23"/>
                    <a:pt x="11" y="24"/>
                    <a:pt x="11" y="26"/>
                  </a:cubicBezTo>
                  <a:cubicBezTo>
                    <a:pt x="11" y="28"/>
                    <a:pt x="12" y="28"/>
                    <a:pt x="14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1" y="28"/>
                    <a:pt x="42" y="28"/>
                    <a:pt x="42" y="26"/>
                  </a:cubicBezTo>
                  <a:cubicBezTo>
                    <a:pt x="42" y="24"/>
                    <a:pt x="41" y="23"/>
                    <a:pt x="40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44" y="19"/>
                    <a:pt x="48" y="21"/>
                    <a:pt x="48" y="26"/>
                  </a:cubicBezTo>
                  <a:cubicBezTo>
                    <a:pt x="48" y="30"/>
                    <a:pt x="44" y="33"/>
                    <a:pt x="37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9" y="33"/>
                    <a:pt x="6" y="30"/>
                    <a:pt x="6" y="26"/>
                  </a:cubicBezTo>
                  <a:cubicBezTo>
                    <a:pt x="6" y="21"/>
                    <a:pt x="9" y="19"/>
                    <a:pt x="16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23"/>
                    <a:pt x="22" y="23"/>
                    <a:pt x="22" y="23"/>
                  </a:cubicBezTo>
                  <a:lnTo>
                    <a:pt x="14" y="23"/>
                  </a:lnTo>
                  <a:close/>
                  <a:moveTo>
                    <a:pt x="23" y="10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2" y="4"/>
                    <a:pt x="11" y="6"/>
                    <a:pt x="11" y="7"/>
                  </a:cubicBezTo>
                  <a:cubicBezTo>
                    <a:pt x="11" y="9"/>
                    <a:pt x="12" y="10"/>
                    <a:pt x="14" y="10"/>
                  </a:cubicBezTo>
                  <a:cubicBezTo>
                    <a:pt x="23" y="10"/>
                    <a:pt x="23" y="10"/>
                    <a:pt x="23" y="10"/>
                  </a:cubicBezTo>
                  <a:close/>
                  <a:moveTo>
                    <a:pt x="40" y="10"/>
                  </a:moveTo>
                  <a:cubicBezTo>
                    <a:pt x="41" y="10"/>
                    <a:pt x="42" y="8"/>
                    <a:pt x="42" y="7"/>
                  </a:cubicBezTo>
                  <a:cubicBezTo>
                    <a:pt x="42" y="6"/>
                    <a:pt x="41" y="4"/>
                    <a:pt x="40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4" y="0"/>
                    <a:pt x="48" y="2"/>
                    <a:pt x="48" y="7"/>
                  </a:cubicBezTo>
                  <a:cubicBezTo>
                    <a:pt x="48" y="12"/>
                    <a:pt x="44" y="14"/>
                    <a:pt x="37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9" y="14"/>
                    <a:pt x="6" y="12"/>
                    <a:pt x="6" y="7"/>
                  </a:cubicBezTo>
                  <a:cubicBezTo>
                    <a:pt x="6" y="2"/>
                    <a:pt x="9" y="0"/>
                    <a:pt x="1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40" y="10"/>
                    <a:pt x="40" y="10"/>
                    <a:pt x="40" y="10"/>
                  </a:cubicBezTo>
                  <a:close/>
                  <a:moveTo>
                    <a:pt x="0" y="0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7"/>
            <p:cNvSpPr>
              <a:spLocks noEditPoints="1"/>
            </p:cNvSpPr>
            <p:nvPr/>
          </p:nvSpPr>
          <p:spPr bwMode="auto">
            <a:xfrm>
              <a:off x="8509001" y="2630499"/>
              <a:ext cx="158750" cy="157163"/>
            </a:xfrm>
            <a:custGeom>
              <a:avLst/>
              <a:gdLst/>
              <a:ahLst/>
              <a:cxnLst>
                <a:cxn ang="0">
                  <a:pos x="15" y="72"/>
                </a:cxn>
                <a:cxn ang="0">
                  <a:pos x="0" y="67"/>
                </a:cxn>
                <a:cxn ang="0">
                  <a:pos x="15" y="65"/>
                </a:cxn>
                <a:cxn ang="0">
                  <a:pos x="19" y="67"/>
                </a:cxn>
                <a:cxn ang="0">
                  <a:pos x="51" y="64"/>
                </a:cxn>
                <a:cxn ang="0">
                  <a:pos x="46" y="72"/>
                </a:cxn>
                <a:cxn ang="0">
                  <a:pos x="19" y="74"/>
                </a:cxn>
                <a:cxn ang="0">
                  <a:pos x="31" y="57"/>
                </a:cxn>
                <a:cxn ang="0">
                  <a:pos x="22" y="52"/>
                </a:cxn>
                <a:cxn ang="0">
                  <a:pos x="22" y="57"/>
                </a:cxn>
                <a:cxn ang="0">
                  <a:pos x="48" y="57"/>
                </a:cxn>
                <a:cxn ang="0">
                  <a:pos x="48" y="52"/>
                </a:cxn>
                <a:cxn ang="0">
                  <a:pos x="40" y="46"/>
                </a:cxn>
                <a:cxn ang="0">
                  <a:pos x="56" y="54"/>
                </a:cxn>
                <a:cxn ang="0">
                  <a:pos x="25" y="61"/>
                </a:cxn>
                <a:cxn ang="0">
                  <a:pos x="25" y="46"/>
                </a:cxn>
                <a:cxn ang="0">
                  <a:pos x="36" y="57"/>
                </a:cxn>
                <a:cxn ang="0">
                  <a:pos x="22" y="32"/>
                </a:cxn>
                <a:cxn ang="0">
                  <a:pos x="22" y="37"/>
                </a:cxn>
                <a:cxn ang="0">
                  <a:pos x="56" y="42"/>
                </a:cxn>
                <a:cxn ang="0">
                  <a:pos x="15" y="37"/>
                </a:cxn>
                <a:cxn ang="0">
                  <a:pos x="15" y="34"/>
                </a:cxn>
                <a:cxn ang="0">
                  <a:pos x="56" y="28"/>
                </a:cxn>
                <a:cxn ang="0">
                  <a:pos x="22" y="32"/>
                </a:cxn>
                <a:cxn ang="0">
                  <a:pos x="0" y="18"/>
                </a:cxn>
                <a:cxn ang="0">
                  <a:pos x="30" y="17"/>
                </a:cxn>
                <a:cxn ang="0">
                  <a:pos x="15" y="7"/>
                </a:cxn>
                <a:cxn ang="0">
                  <a:pos x="56" y="7"/>
                </a:cxn>
                <a:cxn ang="0">
                  <a:pos x="41" y="17"/>
                </a:cxn>
                <a:cxn ang="0">
                  <a:pos x="56" y="18"/>
                </a:cxn>
                <a:cxn ang="0">
                  <a:pos x="0" y="23"/>
                </a:cxn>
                <a:cxn ang="0">
                  <a:pos x="8" y="5"/>
                </a:cxn>
                <a:cxn ang="0">
                  <a:pos x="0" y="0"/>
                </a:cxn>
                <a:cxn ang="0">
                  <a:pos x="56" y="0"/>
                </a:cxn>
                <a:cxn ang="0">
                  <a:pos x="15" y="5"/>
                </a:cxn>
                <a:cxn ang="0">
                  <a:pos x="56" y="0"/>
                </a:cxn>
              </a:cxnLst>
              <a:rect l="0" t="0" r="r" b="b"/>
              <a:pathLst>
                <a:path w="56" h="74">
                  <a:moveTo>
                    <a:pt x="15" y="74"/>
                  </a:moveTo>
                  <a:cubicBezTo>
                    <a:pt x="15" y="72"/>
                    <a:pt x="15" y="72"/>
                    <a:pt x="15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7"/>
                    <a:pt x="51" y="66"/>
                    <a:pt x="51" y="64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56" y="70"/>
                    <a:pt x="53" y="72"/>
                    <a:pt x="46" y="72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15" y="74"/>
                    <a:pt x="15" y="74"/>
                    <a:pt x="15" y="74"/>
                  </a:cubicBezTo>
                  <a:close/>
                  <a:moveTo>
                    <a:pt x="31" y="57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1" y="52"/>
                    <a:pt x="19" y="52"/>
                    <a:pt x="19" y="54"/>
                  </a:cubicBezTo>
                  <a:cubicBezTo>
                    <a:pt x="19" y="55"/>
                    <a:pt x="21" y="57"/>
                    <a:pt x="22" y="57"/>
                  </a:cubicBezTo>
                  <a:lnTo>
                    <a:pt x="31" y="57"/>
                  </a:lnTo>
                  <a:close/>
                  <a:moveTo>
                    <a:pt x="48" y="57"/>
                  </a:moveTo>
                  <a:cubicBezTo>
                    <a:pt x="50" y="57"/>
                    <a:pt x="51" y="55"/>
                    <a:pt x="51" y="54"/>
                  </a:cubicBezTo>
                  <a:cubicBezTo>
                    <a:pt x="51" y="52"/>
                    <a:pt x="50" y="52"/>
                    <a:pt x="48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3" y="46"/>
                    <a:pt x="56" y="49"/>
                    <a:pt x="56" y="54"/>
                  </a:cubicBezTo>
                  <a:cubicBezTo>
                    <a:pt x="56" y="59"/>
                    <a:pt x="53" y="61"/>
                    <a:pt x="46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18" y="61"/>
                    <a:pt x="15" y="59"/>
                    <a:pt x="15" y="54"/>
                  </a:cubicBezTo>
                  <a:cubicBezTo>
                    <a:pt x="15" y="49"/>
                    <a:pt x="18" y="46"/>
                    <a:pt x="25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57"/>
                    <a:pt x="36" y="57"/>
                    <a:pt x="36" y="57"/>
                  </a:cubicBezTo>
                  <a:lnTo>
                    <a:pt x="48" y="57"/>
                  </a:lnTo>
                  <a:close/>
                  <a:moveTo>
                    <a:pt x="22" y="32"/>
                  </a:moveTo>
                  <a:cubicBezTo>
                    <a:pt x="21" y="32"/>
                    <a:pt x="19" y="34"/>
                    <a:pt x="19" y="35"/>
                  </a:cubicBezTo>
                  <a:cubicBezTo>
                    <a:pt x="19" y="37"/>
                    <a:pt x="21" y="37"/>
                    <a:pt x="22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5" y="37"/>
                    <a:pt x="15" y="36"/>
                    <a:pt x="15" y="34"/>
                  </a:cubicBezTo>
                  <a:cubicBezTo>
                    <a:pt x="15" y="30"/>
                    <a:pt x="18" y="28"/>
                    <a:pt x="25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6" y="32"/>
                    <a:pt x="56" y="32"/>
                    <a:pt x="56" y="32"/>
                  </a:cubicBezTo>
                  <a:lnTo>
                    <a:pt x="22" y="32"/>
                  </a:lnTo>
                  <a:close/>
                  <a:moveTo>
                    <a:pt x="0" y="23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23"/>
                    <a:pt x="56" y="23"/>
                    <a:pt x="56" y="23"/>
                  </a:cubicBezTo>
                  <a:lnTo>
                    <a:pt x="0" y="23"/>
                  </a:lnTo>
                  <a:close/>
                  <a:moveTo>
                    <a:pt x="8" y="0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" y="0"/>
                  </a:lnTo>
                  <a:close/>
                  <a:moveTo>
                    <a:pt x="56" y="0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8"/>
            <p:cNvSpPr>
              <a:spLocks noEditPoints="1"/>
            </p:cNvSpPr>
            <p:nvPr/>
          </p:nvSpPr>
          <p:spPr bwMode="auto">
            <a:xfrm>
              <a:off x="4643439" y="2934109"/>
              <a:ext cx="155575" cy="151210"/>
            </a:xfrm>
            <a:custGeom>
              <a:avLst/>
              <a:gdLst/>
              <a:ahLst/>
              <a:cxnLst>
                <a:cxn ang="0">
                  <a:pos x="38" y="63"/>
                </a:cxn>
                <a:cxn ang="0">
                  <a:pos x="43" y="66"/>
                </a:cxn>
                <a:cxn ang="0">
                  <a:pos x="51" y="64"/>
                </a:cxn>
                <a:cxn ang="0">
                  <a:pos x="37" y="61"/>
                </a:cxn>
                <a:cxn ang="0">
                  <a:pos x="35" y="67"/>
                </a:cxn>
                <a:cxn ang="0">
                  <a:pos x="31" y="61"/>
                </a:cxn>
                <a:cxn ang="0">
                  <a:pos x="19" y="63"/>
                </a:cxn>
                <a:cxn ang="0">
                  <a:pos x="29" y="65"/>
                </a:cxn>
                <a:cxn ang="0">
                  <a:pos x="24" y="70"/>
                </a:cxn>
                <a:cxn ang="0">
                  <a:pos x="24" y="56"/>
                </a:cxn>
                <a:cxn ang="0">
                  <a:pos x="55" y="61"/>
                </a:cxn>
                <a:cxn ang="0">
                  <a:pos x="55" y="65"/>
                </a:cxn>
                <a:cxn ang="0">
                  <a:pos x="42" y="71"/>
                </a:cxn>
                <a:cxn ang="0">
                  <a:pos x="0" y="47"/>
                </a:cxn>
                <a:cxn ang="0">
                  <a:pos x="29" y="46"/>
                </a:cxn>
                <a:cxn ang="0">
                  <a:pos x="14" y="36"/>
                </a:cxn>
                <a:cxn ang="0">
                  <a:pos x="55" y="36"/>
                </a:cxn>
                <a:cxn ang="0">
                  <a:pos x="41" y="46"/>
                </a:cxn>
                <a:cxn ang="0">
                  <a:pos x="55" y="47"/>
                </a:cxn>
                <a:cxn ang="0">
                  <a:pos x="0" y="52"/>
                </a:cxn>
                <a:cxn ang="0">
                  <a:pos x="50" y="26"/>
                </a:cxn>
                <a:cxn ang="0">
                  <a:pos x="14" y="24"/>
                </a:cxn>
                <a:cxn ang="0">
                  <a:pos x="55" y="19"/>
                </a:cxn>
                <a:cxn ang="0">
                  <a:pos x="54" y="24"/>
                </a:cxn>
                <a:cxn ang="0">
                  <a:pos x="46" y="33"/>
                </a:cxn>
                <a:cxn ang="0">
                  <a:pos x="14" y="28"/>
                </a:cxn>
                <a:cxn ang="0">
                  <a:pos x="22" y="5"/>
                </a:cxn>
                <a:cxn ang="0">
                  <a:pos x="22" y="10"/>
                </a:cxn>
                <a:cxn ang="0">
                  <a:pos x="55" y="14"/>
                </a:cxn>
                <a:cxn ang="0">
                  <a:pos x="14" y="10"/>
                </a:cxn>
                <a:cxn ang="0">
                  <a:pos x="14" y="6"/>
                </a:cxn>
                <a:cxn ang="0">
                  <a:pos x="55" y="0"/>
                </a:cxn>
                <a:cxn ang="0">
                  <a:pos x="22" y="5"/>
                </a:cxn>
              </a:cxnLst>
              <a:rect l="0" t="0" r="r" b="b"/>
              <a:pathLst>
                <a:path w="55" h="71">
                  <a:moveTo>
                    <a:pt x="37" y="61"/>
                  </a:moveTo>
                  <a:cubicBezTo>
                    <a:pt x="37" y="61"/>
                    <a:pt x="38" y="63"/>
                    <a:pt x="38" y="63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5"/>
                    <a:pt x="41" y="66"/>
                    <a:pt x="43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50" y="66"/>
                    <a:pt x="51" y="65"/>
                    <a:pt x="51" y="64"/>
                  </a:cubicBezTo>
                  <a:cubicBezTo>
                    <a:pt x="51" y="62"/>
                    <a:pt x="50" y="61"/>
                    <a:pt x="48" y="61"/>
                  </a:cubicBezTo>
                  <a:lnTo>
                    <a:pt x="37" y="61"/>
                  </a:lnTo>
                  <a:close/>
                  <a:moveTo>
                    <a:pt x="42" y="71"/>
                  </a:moveTo>
                  <a:cubicBezTo>
                    <a:pt x="40" y="71"/>
                    <a:pt x="37" y="69"/>
                    <a:pt x="35" y="67"/>
                  </a:cubicBezTo>
                  <a:cubicBezTo>
                    <a:pt x="34" y="66"/>
                    <a:pt x="33" y="65"/>
                    <a:pt x="33" y="64"/>
                  </a:cubicBezTo>
                  <a:cubicBezTo>
                    <a:pt x="32" y="63"/>
                    <a:pt x="32" y="62"/>
                    <a:pt x="31" y="61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1"/>
                    <a:pt x="19" y="62"/>
                    <a:pt x="19" y="63"/>
                  </a:cubicBezTo>
                  <a:cubicBezTo>
                    <a:pt x="19" y="65"/>
                    <a:pt x="20" y="65"/>
                    <a:pt x="22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18" y="70"/>
                    <a:pt x="14" y="68"/>
                    <a:pt x="14" y="63"/>
                  </a:cubicBezTo>
                  <a:cubicBezTo>
                    <a:pt x="14" y="59"/>
                    <a:pt x="18" y="56"/>
                    <a:pt x="24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5" y="62"/>
                    <a:pt x="55" y="63"/>
                    <a:pt x="55" y="65"/>
                  </a:cubicBezTo>
                  <a:cubicBezTo>
                    <a:pt x="55" y="69"/>
                    <a:pt x="52" y="71"/>
                    <a:pt x="46" y="71"/>
                  </a:cubicBezTo>
                  <a:cubicBezTo>
                    <a:pt x="42" y="71"/>
                    <a:pt x="42" y="71"/>
                    <a:pt x="42" y="71"/>
                  </a:cubicBezTo>
                  <a:close/>
                  <a:moveTo>
                    <a:pt x="0" y="52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0" y="52"/>
                    <a:pt x="0" y="52"/>
                    <a:pt x="0" y="52"/>
                  </a:cubicBezTo>
                  <a:close/>
                  <a:moveTo>
                    <a:pt x="48" y="28"/>
                  </a:moveTo>
                  <a:cubicBezTo>
                    <a:pt x="50" y="28"/>
                    <a:pt x="50" y="28"/>
                    <a:pt x="50" y="26"/>
                  </a:cubicBezTo>
                  <a:cubicBezTo>
                    <a:pt x="50" y="24"/>
                    <a:pt x="50" y="24"/>
                    <a:pt x="4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4"/>
                    <a:pt x="55" y="25"/>
                    <a:pt x="55" y="28"/>
                  </a:cubicBezTo>
                  <a:cubicBezTo>
                    <a:pt x="55" y="32"/>
                    <a:pt x="52" y="33"/>
                    <a:pt x="46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22" y="5"/>
                  </a:moveTo>
                  <a:cubicBezTo>
                    <a:pt x="20" y="5"/>
                    <a:pt x="19" y="5"/>
                    <a:pt x="19" y="7"/>
                  </a:cubicBezTo>
                  <a:cubicBezTo>
                    <a:pt x="19" y="9"/>
                    <a:pt x="20" y="10"/>
                    <a:pt x="22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9"/>
                    <a:pt x="14" y="7"/>
                    <a:pt x="14" y="6"/>
                  </a:cubicBezTo>
                  <a:cubicBezTo>
                    <a:pt x="14" y="2"/>
                    <a:pt x="18" y="0"/>
                    <a:pt x="2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22" y="5"/>
                    <a:pt x="22" y="5"/>
                    <a:pt x="22" y="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79"/>
            <p:cNvSpPr>
              <a:spLocks noEditPoints="1"/>
            </p:cNvSpPr>
            <p:nvPr/>
          </p:nvSpPr>
          <p:spPr bwMode="auto">
            <a:xfrm>
              <a:off x="2198689" y="3544900"/>
              <a:ext cx="195263" cy="116681"/>
            </a:xfrm>
            <a:custGeom>
              <a:avLst/>
              <a:gdLst/>
              <a:ahLst/>
              <a:cxnLst>
                <a:cxn ang="0">
                  <a:pos x="17" y="19"/>
                </a:cxn>
                <a:cxn ang="0">
                  <a:pos x="14" y="55"/>
                </a:cxn>
                <a:cxn ang="0">
                  <a:pos x="9" y="22"/>
                </a:cxn>
                <a:cxn ang="0">
                  <a:pos x="5" y="22"/>
                </a:cxn>
                <a:cxn ang="0">
                  <a:pos x="0" y="55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18" y="14"/>
                </a:cxn>
                <a:cxn ang="0">
                  <a:pos x="24" y="55"/>
                </a:cxn>
                <a:cxn ang="0">
                  <a:pos x="19" y="22"/>
                </a:cxn>
                <a:cxn ang="0">
                  <a:pos x="38" y="31"/>
                </a:cxn>
                <a:cxn ang="0">
                  <a:pos x="36" y="19"/>
                </a:cxn>
                <a:cxn ang="0">
                  <a:pos x="33" y="31"/>
                </a:cxn>
                <a:cxn ang="0">
                  <a:pos x="36" y="50"/>
                </a:cxn>
                <a:cxn ang="0">
                  <a:pos x="38" y="40"/>
                </a:cxn>
                <a:cxn ang="0">
                  <a:pos x="42" y="45"/>
                </a:cxn>
                <a:cxn ang="0">
                  <a:pos x="28" y="45"/>
                </a:cxn>
                <a:cxn ang="0">
                  <a:pos x="36" y="14"/>
                </a:cxn>
                <a:cxn ang="0">
                  <a:pos x="42" y="36"/>
                </a:cxn>
                <a:cxn ang="0">
                  <a:pos x="33" y="48"/>
                </a:cxn>
                <a:cxn ang="0">
                  <a:pos x="38" y="12"/>
                </a:cxn>
                <a:cxn ang="0">
                  <a:pos x="29" y="8"/>
                </a:cxn>
                <a:cxn ang="0">
                  <a:pos x="55" y="22"/>
                </a:cxn>
                <a:cxn ang="0">
                  <a:pos x="51" y="22"/>
                </a:cxn>
                <a:cxn ang="0">
                  <a:pos x="56" y="34"/>
                </a:cxn>
                <a:cxn ang="0">
                  <a:pos x="54" y="55"/>
                </a:cxn>
                <a:cxn ang="0">
                  <a:pos x="47" y="43"/>
                </a:cxn>
                <a:cxn ang="0">
                  <a:pos x="51" y="48"/>
                </a:cxn>
                <a:cxn ang="0">
                  <a:pos x="55" y="48"/>
                </a:cxn>
                <a:cxn ang="0">
                  <a:pos x="51" y="36"/>
                </a:cxn>
                <a:cxn ang="0">
                  <a:pos x="53" y="14"/>
                </a:cxn>
                <a:cxn ang="0">
                  <a:pos x="60" y="28"/>
                </a:cxn>
                <a:cxn ang="0">
                  <a:pos x="55" y="22"/>
                </a:cxn>
                <a:cxn ang="0">
                  <a:pos x="64" y="7"/>
                </a:cxn>
                <a:cxn ang="0">
                  <a:pos x="69" y="0"/>
                </a:cxn>
                <a:cxn ang="0">
                  <a:pos x="69" y="55"/>
                </a:cxn>
                <a:cxn ang="0">
                  <a:pos x="64" y="14"/>
                </a:cxn>
                <a:cxn ang="0">
                  <a:pos x="69" y="55"/>
                </a:cxn>
              </a:cxnLst>
              <a:rect l="0" t="0" r="r" b="b"/>
              <a:pathLst>
                <a:path w="69" h="55">
                  <a:moveTo>
                    <a:pt x="19" y="22"/>
                  </a:moveTo>
                  <a:cubicBezTo>
                    <a:pt x="19" y="20"/>
                    <a:pt x="18" y="19"/>
                    <a:pt x="17" y="19"/>
                  </a:cubicBezTo>
                  <a:cubicBezTo>
                    <a:pt x="15" y="19"/>
                    <a:pt x="14" y="20"/>
                    <a:pt x="14" y="22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0"/>
                    <a:pt x="9" y="19"/>
                    <a:pt x="7" y="19"/>
                  </a:cubicBezTo>
                  <a:cubicBezTo>
                    <a:pt x="5" y="19"/>
                    <a:pt x="5" y="20"/>
                    <a:pt x="5" y="22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4"/>
                    <a:pt x="6" y="14"/>
                    <a:pt x="9" y="14"/>
                  </a:cubicBezTo>
                  <a:cubicBezTo>
                    <a:pt x="10" y="14"/>
                    <a:pt x="12" y="15"/>
                    <a:pt x="13" y="17"/>
                  </a:cubicBezTo>
                  <a:cubicBezTo>
                    <a:pt x="14" y="15"/>
                    <a:pt x="15" y="14"/>
                    <a:pt x="18" y="14"/>
                  </a:cubicBezTo>
                  <a:cubicBezTo>
                    <a:pt x="22" y="14"/>
                    <a:pt x="24" y="17"/>
                    <a:pt x="24" y="24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33" y="31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0"/>
                    <a:pt x="37" y="19"/>
                    <a:pt x="36" y="19"/>
                  </a:cubicBezTo>
                  <a:cubicBezTo>
                    <a:pt x="34" y="19"/>
                    <a:pt x="33" y="20"/>
                    <a:pt x="33" y="22"/>
                  </a:cubicBezTo>
                  <a:lnTo>
                    <a:pt x="33" y="31"/>
                  </a:lnTo>
                  <a:close/>
                  <a:moveTo>
                    <a:pt x="33" y="48"/>
                  </a:moveTo>
                  <a:cubicBezTo>
                    <a:pt x="33" y="49"/>
                    <a:pt x="34" y="50"/>
                    <a:pt x="36" y="50"/>
                  </a:cubicBezTo>
                  <a:cubicBezTo>
                    <a:pt x="37" y="50"/>
                    <a:pt x="38" y="49"/>
                    <a:pt x="38" y="4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52"/>
                    <a:pt x="40" y="55"/>
                    <a:pt x="36" y="55"/>
                  </a:cubicBezTo>
                  <a:cubicBezTo>
                    <a:pt x="31" y="55"/>
                    <a:pt x="28" y="52"/>
                    <a:pt x="28" y="45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17"/>
                    <a:pt x="31" y="14"/>
                    <a:pt x="36" y="14"/>
                  </a:cubicBezTo>
                  <a:cubicBezTo>
                    <a:pt x="40" y="14"/>
                    <a:pt x="42" y="17"/>
                    <a:pt x="42" y="24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3" y="36"/>
                    <a:pt x="33" y="36"/>
                    <a:pt x="33" y="36"/>
                  </a:cubicBezTo>
                  <a:lnTo>
                    <a:pt x="33" y="48"/>
                  </a:lnTo>
                  <a:close/>
                  <a:moveTo>
                    <a:pt x="35" y="8"/>
                  </a:moveTo>
                  <a:cubicBezTo>
                    <a:pt x="38" y="12"/>
                    <a:pt x="38" y="12"/>
                    <a:pt x="38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29" y="8"/>
                    <a:pt x="29" y="8"/>
                    <a:pt x="29" y="8"/>
                  </a:cubicBezTo>
                  <a:lnTo>
                    <a:pt x="35" y="8"/>
                  </a:lnTo>
                  <a:close/>
                  <a:moveTo>
                    <a:pt x="55" y="22"/>
                  </a:moveTo>
                  <a:cubicBezTo>
                    <a:pt x="55" y="19"/>
                    <a:pt x="55" y="19"/>
                    <a:pt x="53" y="19"/>
                  </a:cubicBezTo>
                  <a:cubicBezTo>
                    <a:pt x="52" y="19"/>
                    <a:pt x="51" y="19"/>
                    <a:pt x="51" y="22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7"/>
                    <a:pt x="53" y="30"/>
                    <a:pt x="56" y="34"/>
                  </a:cubicBezTo>
                  <a:cubicBezTo>
                    <a:pt x="59" y="38"/>
                    <a:pt x="60" y="41"/>
                    <a:pt x="60" y="45"/>
                  </a:cubicBezTo>
                  <a:cubicBezTo>
                    <a:pt x="60" y="52"/>
                    <a:pt x="58" y="55"/>
                    <a:pt x="54" y="55"/>
                  </a:cubicBezTo>
                  <a:cubicBezTo>
                    <a:pt x="49" y="55"/>
                    <a:pt x="47" y="52"/>
                    <a:pt x="47" y="45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9"/>
                    <a:pt x="52" y="50"/>
                    <a:pt x="54" y="50"/>
                  </a:cubicBezTo>
                  <a:cubicBezTo>
                    <a:pt x="55" y="50"/>
                    <a:pt x="55" y="50"/>
                    <a:pt x="55" y="48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5" y="41"/>
                    <a:pt x="54" y="39"/>
                    <a:pt x="51" y="36"/>
                  </a:cubicBezTo>
                  <a:cubicBezTo>
                    <a:pt x="48" y="32"/>
                    <a:pt x="47" y="29"/>
                    <a:pt x="47" y="25"/>
                  </a:cubicBezTo>
                  <a:cubicBezTo>
                    <a:pt x="47" y="17"/>
                    <a:pt x="49" y="14"/>
                    <a:pt x="53" y="14"/>
                  </a:cubicBezTo>
                  <a:cubicBezTo>
                    <a:pt x="58" y="14"/>
                    <a:pt x="60" y="17"/>
                    <a:pt x="60" y="25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2"/>
                    <a:pt x="55" y="22"/>
                    <a:pt x="55" y="22"/>
                  </a:cubicBezTo>
                  <a:close/>
                  <a:moveTo>
                    <a:pt x="69" y="7"/>
                  </a:moveTo>
                  <a:cubicBezTo>
                    <a:pt x="64" y="7"/>
                    <a:pt x="64" y="7"/>
                    <a:pt x="64" y="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69" y="7"/>
                  </a:lnTo>
                  <a:close/>
                  <a:moveTo>
                    <a:pt x="69" y="55"/>
                  </a:moveTo>
                  <a:cubicBezTo>
                    <a:pt x="64" y="55"/>
                    <a:pt x="64" y="55"/>
                    <a:pt x="64" y="55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55"/>
                    <a:pt x="69" y="55"/>
                    <a:pt x="69" y="5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80"/>
            <p:cNvSpPr>
              <a:spLocks noEditPoints="1"/>
            </p:cNvSpPr>
            <p:nvPr/>
          </p:nvSpPr>
          <p:spPr bwMode="auto">
            <a:xfrm>
              <a:off x="4773613" y="1941128"/>
              <a:ext cx="190500" cy="116681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7" y="0"/>
                </a:cxn>
                <a:cxn ang="0">
                  <a:pos x="9" y="14"/>
                </a:cxn>
                <a:cxn ang="0">
                  <a:pos x="7" y="19"/>
                </a:cxn>
                <a:cxn ang="0">
                  <a:pos x="9" y="50"/>
                </a:cxn>
                <a:cxn ang="0">
                  <a:pos x="2" y="45"/>
                </a:cxn>
                <a:cxn ang="0">
                  <a:pos x="0" y="19"/>
                </a:cxn>
                <a:cxn ang="0">
                  <a:pos x="23" y="37"/>
                </a:cxn>
                <a:cxn ang="0">
                  <a:pos x="19" y="39"/>
                </a:cxn>
                <a:cxn ang="0">
                  <a:pos x="18" y="47"/>
                </a:cxn>
                <a:cxn ang="0">
                  <a:pos x="23" y="47"/>
                </a:cxn>
                <a:cxn ang="0">
                  <a:pos x="13" y="42"/>
                </a:cxn>
                <a:cxn ang="0">
                  <a:pos x="20" y="32"/>
                </a:cxn>
                <a:cxn ang="0">
                  <a:pos x="23" y="21"/>
                </a:cxn>
                <a:cxn ang="0">
                  <a:pos x="18" y="21"/>
                </a:cxn>
                <a:cxn ang="0">
                  <a:pos x="13" y="29"/>
                </a:cxn>
                <a:cxn ang="0">
                  <a:pos x="21" y="14"/>
                </a:cxn>
                <a:cxn ang="0">
                  <a:pos x="27" y="55"/>
                </a:cxn>
                <a:cxn ang="0">
                  <a:pos x="23" y="53"/>
                </a:cxn>
                <a:cxn ang="0">
                  <a:pos x="13" y="45"/>
                </a:cxn>
                <a:cxn ang="0">
                  <a:pos x="41" y="21"/>
                </a:cxn>
                <a:cxn ang="0">
                  <a:pos x="37" y="21"/>
                </a:cxn>
                <a:cxn ang="0">
                  <a:pos x="39" y="50"/>
                </a:cxn>
                <a:cxn ang="0">
                  <a:pos x="41" y="39"/>
                </a:cxn>
                <a:cxn ang="0">
                  <a:pos x="46" y="45"/>
                </a:cxn>
                <a:cxn ang="0">
                  <a:pos x="32" y="45"/>
                </a:cxn>
                <a:cxn ang="0">
                  <a:pos x="39" y="14"/>
                </a:cxn>
                <a:cxn ang="0">
                  <a:pos x="46" y="29"/>
                </a:cxn>
                <a:cxn ang="0">
                  <a:pos x="41" y="21"/>
                </a:cxn>
                <a:cxn ang="0">
                  <a:pos x="55" y="0"/>
                </a:cxn>
                <a:cxn ang="0">
                  <a:pos x="56" y="29"/>
                </a:cxn>
                <a:cxn ang="0">
                  <a:pos x="67" y="14"/>
                </a:cxn>
                <a:cxn ang="0">
                  <a:pos x="67" y="55"/>
                </a:cxn>
                <a:cxn ang="0">
                  <a:pos x="56" y="40"/>
                </a:cxn>
                <a:cxn ang="0">
                  <a:pos x="55" y="55"/>
                </a:cxn>
                <a:cxn ang="0">
                  <a:pos x="50" y="0"/>
                </a:cxn>
              </a:cxnLst>
              <a:rect l="0" t="0" r="r" b="b"/>
              <a:pathLst>
                <a:path w="67" h="55">
                  <a:moveTo>
                    <a:pt x="0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8" y="50"/>
                    <a:pt x="9" y="50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4" y="55"/>
                    <a:pt x="2" y="52"/>
                    <a:pt x="2" y="4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0" y="14"/>
                  </a:lnTo>
                  <a:close/>
                  <a:moveTo>
                    <a:pt x="23" y="37"/>
                  </a:moveTo>
                  <a:cubicBezTo>
                    <a:pt x="22" y="37"/>
                    <a:pt x="21" y="37"/>
                    <a:pt x="21" y="38"/>
                  </a:cubicBezTo>
                  <a:cubicBezTo>
                    <a:pt x="20" y="38"/>
                    <a:pt x="20" y="38"/>
                    <a:pt x="19" y="39"/>
                  </a:cubicBezTo>
                  <a:cubicBezTo>
                    <a:pt x="18" y="39"/>
                    <a:pt x="18" y="41"/>
                    <a:pt x="18" y="43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8" y="49"/>
                    <a:pt x="18" y="50"/>
                    <a:pt x="20" y="50"/>
                  </a:cubicBezTo>
                  <a:cubicBezTo>
                    <a:pt x="22" y="50"/>
                    <a:pt x="23" y="49"/>
                    <a:pt x="23" y="47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13" y="42"/>
                  </a:moveTo>
                  <a:cubicBezTo>
                    <a:pt x="13" y="39"/>
                    <a:pt x="14" y="37"/>
                    <a:pt x="17" y="35"/>
                  </a:cubicBezTo>
                  <a:cubicBezTo>
                    <a:pt x="18" y="34"/>
                    <a:pt x="19" y="33"/>
                    <a:pt x="20" y="32"/>
                  </a:cubicBezTo>
                  <a:cubicBezTo>
                    <a:pt x="21" y="32"/>
                    <a:pt x="22" y="31"/>
                    <a:pt x="23" y="30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2" y="19"/>
                    <a:pt x="21" y="19"/>
                  </a:cubicBezTo>
                  <a:cubicBezTo>
                    <a:pt x="19" y="19"/>
                    <a:pt x="18" y="20"/>
                    <a:pt x="18" y="21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17"/>
                    <a:pt x="15" y="14"/>
                    <a:pt x="21" y="14"/>
                  </a:cubicBezTo>
                  <a:cubicBezTo>
                    <a:pt x="25" y="14"/>
                    <a:pt x="27" y="17"/>
                    <a:pt x="27" y="2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2" y="55"/>
                    <a:pt x="21" y="55"/>
                    <a:pt x="19" y="55"/>
                  </a:cubicBezTo>
                  <a:cubicBezTo>
                    <a:pt x="15" y="55"/>
                    <a:pt x="13" y="52"/>
                    <a:pt x="13" y="45"/>
                  </a:cubicBezTo>
                  <a:cubicBezTo>
                    <a:pt x="13" y="42"/>
                    <a:pt x="13" y="42"/>
                    <a:pt x="13" y="42"/>
                  </a:cubicBezTo>
                  <a:close/>
                  <a:moveTo>
                    <a:pt x="41" y="21"/>
                  </a:moveTo>
                  <a:cubicBezTo>
                    <a:pt x="41" y="20"/>
                    <a:pt x="41" y="19"/>
                    <a:pt x="39" y="19"/>
                  </a:cubicBezTo>
                  <a:cubicBezTo>
                    <a:pt x="37" y="19"/>
                    <a:pt x="37" y="20"/>
                    <a:pt x="37" y="21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9"/>
                    <a:pt x="37" y="50"/>
                    <a:pt x="39" y="50"/>
                  </a:cubicBezTo>
                  <a:cubicBezTo>
                    <a:pt x="41" y="50"/>
                    <a:pt x="41" y="49"/>
                    <a:pt x="41" y="47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6" y="52"/>
                    <a:pt x="44" y="55"/>
                    <a:pt x="39" y="55"/>
                  </a:cubicBezTo>
                  <a:cubicBezTo>
                    <a:pt x="34" y="55"/>
                    <a:pt x="32" y="52"/>
                    <a:pt x="32" y="45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7"/>
                    <a:pt x="34" y="14"/>
                    <a:pt x="39" y="14"/>
                  </a:cubicBezTo>
                  <a:cubicBezTo>
                    <a:pt x="44" y="14"/>
                    <a:pt x="46" y="17"/>
                    <a:pt x="46" y="24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1" y="29"/>
                    <a:pt x="41" y="29"/>
                    <a:pt x="41" y="29"/>
                  </a:cubicBezTo>
                  <a:lnTo>
                    <a:pt x="41" y="21"/>
                  </a:lnTo>
                  <a:close/>
                  <a:moveTo>
                    <a:pt x="50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0"/>
                    <a:pt x="50" y="0"/>
                    <a:pt x="50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81"/>
            <p:cNvSpPr>
              <a:spLocks noEditPoints="1"/>
            </p:cNvSpPr>
            <p:nvPr/>
          </p:nvSpPr>
          <p:spPr bwMode="auto">
            <a:xfrm>
              <a:off x="4603751" y="1779203"/>
              <a:ext cx="144463" cy="146447"/>
            </a:xfrm>
            <a:custGeom>
              <a:avLst/>
              <a:gdLst/>
              <a:ahLst/>
              <a:cxnLst>
                <a:cxn ang="0">
                  <a:pos x="5" y="62"/>
                </a:cxn>
                <a:cxn ang="0">
                  <a:pos x="11" y="64"/>
                </a:cxn>
                <a:cxn ang="0">
                  <a:pos x="31" y="55"/>
                </a:cxn>
                <a:cxn ang="0">
                  <a:pos x="31" y="69"/>
                </a:cxn>
                <a:cxn ang="0">
                  <a:pos x="29" y="64"/>
                </a:cxn>
                <a:cxn ang="0">
                  <a:pos x="37" y="62"/>
                </a:cxn>
                <a:cxn ang="0">
                  <a:pos x="30" y="60"/>
                </a:cxn>
                <a:cxn ang="0">
                  <a:pos x="11" y="69"/>
                </a:cxn>
                <a:cxn ang="0">
                  <a:pos x="11" y="55"/>
                </a:cxn>
                <a:cxn ang="0">
                  <a:pos x="14" y="60"/>
                </a:cxn>
                <a:cxn ang="0">
                  <a:pos x="0" y="51"/>
                </a:cxn>
                <a:cxn ang="0">
                  <a:pos x="2" y="46"/>
                </a:cxn>
                <a:cxn ang="0">
                  <a:pos x="10" y="37"/>
                </a:cxn>
                <a:cxn ang="0">
                  <a:pos x="41" y="42"/>
                </a:cxn>
                <a:cxn ang="0">
                  <a:pos x="51" y="46"/>
                </a:cxn>
                <a:cxn ang="0">
                  <a:pos x="0" y="51"/>
                </a:cxn>
                <a:cxn ang="0">
                  <a:pos x="8" y="41"/>
                </a:cxn>
                <a:cxn ang="0">
                  <a:pos x="8" y="46"/>
                </a:cxn>
                <a:cxn ang="0">
                  <a:pos x="36" y="44"/>
                </a:cxn>
                <a:cxn ang="0">
                  <a:pos x="23" y="23"/>
                </a:cxn>
                <a:cxn ang="0">
                  <a:pos x="25" y="26"/>
                </a:cxn>
                <a:cxn ang="0">
                  <a:pos x="34" y="27"/>
                </a:cxn>
                <a:cxn ang="0">
                  <a:pos x="34" y="23"/>
                </a:cxn>
                <a:cxn ang="0">
                  <a:pos x="28" y="32"/>
                </a:cxn>
                <a:cxn ang="0">
                  <a:pos x="19" y="25"/>
                </a:cxn>
                <a:cxn ang="0">
                  <a:pos x="8" y="23"/>
                </a:cxn>
                <a:cxn ang="0">
                  <a:pos x="8" y="27"/>
                </a:cxn>
                <a:cxn ang="0">
                  <a:pos x="15" y="32"/>
                </a:cxn>
                <a:cxn ang="0">
                  <a:pos x="0" y="25"/>
                </a:cxn>
                <a:cxn ang="0">
                  <a:pos x="41" y="18"/>
                </a:cxn>
                <a:cxn ang="0">
                  <a:pos x="39" y="23"/>
                </a:cxn>
                <a:cxn ang="0">
                  <a:pos x="32" y="32"/>
                </a:cxn>
                <a:cxn ang="0">
                  <a:pos x="7" y="5"/>
                </a:cxn>
                <a:cxn ang="0">
                  <a:pos x="7" y="9"/>
                </a:cxn>
                <a:cxn ang="0">
                  <a:pos x="20" y="5"/>
                </a:cxn>
                <a:cxn ang="0">
                  <a:pos x="41" y="7"/>
                </a:cxn>
                <a:cxn ang="0">
                  <a:pos x="29" y="14"/>
                </a:cxn>
                <a:cxn ang="0">
                  <a:pos x="34" y="9"/>
                </a:cxn>
                <a:cxn ang="0">
                  <a:pos x="34" y="5"/>
                </a:cxn>
                <a:cxn ang="0">
                  <a:pos x="22" y="9"/>
                </a:cxn>
                <a:cxn ang="0">
                  <a:pos x="0" y="7"/>
                </a:cxn>
                <a:cxn ang="0">
                  <a:pos x="14" y="0"/>
                </a:cxn>
                <a:cxn ang="0">
                  <a:pos x="7" y="5"/>
                </a:cxn>
              </a:cxnLst>
              <a:rect l="0" t="0" r="r" b="b"/>
              <a:pathLst>
                <a:path w="51" h="69">
                  <a:moveTo>
                    <a:pt x="7" y="60"/>
                  </a:moveTo>
                  <a:cubicBezTo>
                    <a:pt x="6" y="60"/>
                    <a:pt x="5" y="61"/>
                    <a:pt x="5" y="62"/>
                  </a:cubicBezTo>
                  <a:cubicBezTo>
                    <a:pt x="5" y="63"/>
                    <a:pt x="6" y="64"/>
                    <a:pt x="7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4" y="64"/>
                    <a:pt x="16" y="63"/>
                    <a:pt x="20" y="59"/>
                  </a:cubicBezTo>
                  <a:cubicBezTo>
                    <a:pt x="24" y="56"/>
                    <a:pt x="28" y="55"/>
                    <a:pt x="31" y="55"/>
                  </a:cubicBezTo>
                  <a:cubicBezTo>
                    <a:pt x="38" y="55"/>
                    <a:pt x="41" y="57"/>
                    <a:pt x="41" y="62"/>
                  </a:cubicBezTo>
                  <a:cubicBezTo>
                    <a:pt x="41" y="67"/>
                    <a:pt x="38" y="69"/>
                    <a:pt x="31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6" y="64"/>
                    <a:pt x="37" y="63"/>
                    <a:pt x="37" y="62"/>
                  </a:cubicBezTo>
                  <a:cubicBezTo>
                    <a:pt x="37" y="60"/>
                    <a:pt x="36" y="60"/>
                    <a:pt x="34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28" y="60"/>
                    <a:pt x="25" y="61"/>
                    <a:pt x="22" y="64"/>
                  </a:cubicBezTo>
                  <a:cubicBezTo>
                    <a:pt x="19" y="67"/>
                    <a:pt x="15" y="69"/>
                    <a:pt x="11" y="69"/>
                  </a:cubicBezTo>
                  <a:cubicBezTo>
                    <a:pt x="4" y="69"/>
                    <a:pt x="0" y="67"/>
                    <a:pt x="0" y="62"/>
                  </a:cubicBezTo>
                  <a:cubicBezTo>
                    <a:pt x="0" y="58"/>
                    <a:pt x="4" y="55"/>
                    <a:pt x="11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7" y="60"/>
                    <a:pt x="7" y="60"/>
                    <a:pt x="7" y="60"/>
                  </a:cubicBezTo>
                  <a:close/>
                  <a:moveTo>
                    <a:pt x="0" y="51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1" y="45"/>
                    <a:pt x="0" y="43"/>
                    <a:pt x="0" y="42"/>
                  </a:cubicBezTo>
                  <a:cubicBezTo>
                    <a:pt x="0" y="38"/>
                    <a:pt x="4" y="37"/>
                    <a:pt x="10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8" y="37"/>
                    <a:pt x="41" y="38"/>
                    <a:pt x="41" y="42"/>
                  </a:cubicBezTo>
                  <a:cubicBezTo>
                    <a:pt x="41" y="44"/>
                    <a:pt x="41" y="46"/>
                    <a:pt x="39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51"/>
                    <a:pt x="51" y="51"/>
                    <a:pt x="51" y="51"/>
                  </a:cubicBezTo>
                  <a:lnTo>
                    <a:pt x="0" y="51"/>
                  </a:lnTo>
                  <a:close/>
                  <a:moveTo>
                    <a:pt x="34" y="41"/>
                  </a:moveTo>
                  <a:cubicBezTo>
                    <a:pt x="8" y="41"/>
                    <a:pt x="8" y="41"/>
                    <a:pt x="8" y="41"/>
                  </a:cubicBezTo>
                  <a:cubicBezTo>
                    <a:pt x="6" y="41"/>
                    <a:pt x="5" y="42"/>
                    <a:pt x="5" y="44"/>
                  </a:cubicBezTo>
                  <a:cubicBezTo>
                    <a:pt x="5" y="46"/>
                    <a:pt x="6" y="46"/>
                    <a:pt x="8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6" y="46"/>
                    <a:pt x="36" y="46"/>
                    <a:pt x="36" y="44"/>
                  </a:cubicBezTo>
                  <a:cubicBezTo>
                    <a:pt x="36" y="42"/>
                    <a:pt x="36" y="41"/>
                    <a:pt x="34" y="41"/>
                  </a:cubicBezTo>
                  <a:close/>
                  <a:moveTo>
                    <a:pt x="23" y="23"/>
                  </a:moveTo>
                  <a:cubicBezTo>
                    <a:pt x="23" y="23"/>
                    <a:pt x="24" y="24"/>
                    <a:pt x="24" y="24"/>
                  </a:cubicBezTo>
                  <a:cubicBezTo>
                    <a:pt x="24" y="25"/>
                    <a:pt x="25" y="25"/>
                    <a:pt x="25" y="26"/>
                  </a:cubicBezTo>
                  <a:cubicBezTo>
                    <a:pt x="26" y="27"/>
                    <a:pt x="27" y="27"/>
                    <a:pt x="29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6" y="27"/>
                    <a:pt x="37" y="27"/>
                    <a:pt x="37" y="25"/>
                  </a:cubicBezTo>
                  <a:cubicBezTo>
                    <a:pt x="37" y="23"/>
                    <a:pt x="36" y="23"/>
                    <a:pt x="34" y="23"/>
                  </a:cubicBezTo>
                  <a:cubicBezTo>
                    <a:pt x="23" y="23"/>
                    <a:pt x="23" y="23"/>
                    <a:pt x="23" y="23"/>
                  </a:cubicBezTo>
                  <a:close/>
                  <a:moveTo>
                    <a:pt x="28" y="32"/>
                  </a:moveTo>
                  <a:cubicBezTo>
                    <a:pt x="25" y="32"/>
                    <a:pt x="23" y="31"/>
                    <a:pt x="21" y="28"/>
                  </a:cubicBezTo>
                  <a:cubicBezTo>
                    <a:pt x="20" y="27"/>
                    <a:pt x="19" y="26"/>
                    <a:pt x="19" y="25"/>
                  </a:cubicBezTo>
                  <a:cubicBezTo>
                    <a:pt x="18" y="24"/>
                    <a:pt x="18" y="23"/>
                    <a:pt x="17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6" y="23"/>
                    <a:pt x="5" y="23"/>
                    <a:pt x="5" y="25"/>
                  </a:cubicBezTo>
                  <a:cubicBezTo>
                    <a:pt x="5" y="26"/>
                    <a:pt x="6" y="27"/>
                    <a:pt x="8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4" y="32"/>
                    <a:pt x="0" y="29"/>
                    <a:pt x="0" y="25"/>
                  </a:cubicBezTo>
                  <a:cubicBezTo>
                    <a:pt x="0" y="20"/>
                    <a:pt x="4" y="18"/>
                    <a:pt x="10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1" y="23"/>
                    <a:pt x="41" y="25"/>
                    <a:pt x="41" y="27"/>
                  </a:cubicBezTo>
                  <a:cubicBezTo>
                    <a:pt x="41" y="31"/>
                    <a:pt x="38" y="32"/>
                    <a:pt x="32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7" y="5"/>
                  </a:moveTo>
                  <a:cubicBezTo>
                    <a:pt x="6" y="5"/>
                    <a:pt x="5" y="6"/>
                    <a:pt x="5" y="7"/>
                  </a:cubicBezTo>
                  <a:cubicBezTo>
                    <a:pt x="5" y="9"/>
                    <a:pt x="6" y="9"/>
                    <a:pt x="7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4" y="9"/>
                    <a:pt x="16" y="8"/>
                    <a:pt x="20" y="5"/>
                  </a:cubicBezTo>
                  <a:cubicBezTo>
                    <a:pt x="24" y="2"/>
                    <a:pt x="28" y="0"/>
                    <a:pt x="31" y="0"/>
                  </a:cubicBezTo>
                  <a:cubicBezTo>
                    <a:pt x="38" y="0"/>
                    <a:pt x="41" y="2"/>
                    <a:pt x="41" y="7"/>
                  </a:cubicBezTo>
                  <a:cubicBezTo>
                    <a:pt x="41" y="11"/>
                    <a:pt x="38" y="14"/>
                    <a:pt x="31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6" y="9"/>
                    <a:pt x="37" y="9"/>
                    <a:pt x="37" y="7"/>
                  </a:cubicBezTo>
                  <a:cubicBezTo>
                    <a:pt x="37" y="6"/>
                    <a:pt x="36" y="5"/>
                    <a:pt x="34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8" y="5"/>
                    <a:pt x="25" y="6"/>
                    <a:pt x="22" y="9"/>
                  </a:cubicBezTo>
                  <a:cubicBezTo>
                    <a:pt x="19" y="12"/>
                    <a:pt x="15" y="14"/>
                    <a:pt x="11" y="14"/>
                  </a:cubicBezTo>
                  <a:cubicBezTo>
                    <a:pt x="4" y="14"/>
                    <a:pt x="0" y="11"/>
                    <a:pt x="0" y="7"/>
                  </a:cubicBezTo>
                  <a:cubicBezTo>
                    <a:pt x="0" y="2"/>
                    <a:pt x="4" y="0"/>
                    <a:pt x="1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7" y="5"/>
                    <a:pt x="7" y="5"/>
                    <a:pt x="7" y="5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82"/>
            <p:cNvSpPr>
              <a:spLocks noEditPoints="1"/>
            </p:cNvSpPr>
            <p:nvPr/>
          </p:nvSpPr>
          <p:spPr bwMode="auto">
            <a:xfrm>
              <a:off x="4564064" y="2505483"/>
              <a:ext cx="155575" cy="129779"/>
            </a:xfrm>
            <a:custGeom>
              <a:avLst/>
              <a:gdLst/>
              <a:ahLst/>
              <a:cxnLst>
                <a:cxn ang="0">
                  <a:pos x="38" y="53"/>
                </a:cxn>
                <a:cxn ang="0">
                  <a:pos x="43" y="56"/>
                </a:cxn>
                <a:cxn ang="0">
                  <a:pos x="50" y="54"/>
                </a:cxn>
                <a:cxn ang="0">
                  <a:pos x="37" y="51"/>
                </a:cxn>
                <a:cxn ang="0">
                  <a:pos x="35" y="57"/>
                </a:cxn>
                <a:cxn ang="0">
                  <a:pos x="31" y="51"/>
                </a:cxn>
                <a:cxn ang="0">
                  <a:pos x="19" y="53"/>
                </a:cxn>
                <a:cxn ang="0">
                  <a:pos x="29" y="55"/>
                </a:cxn>
                <a:cxn ang="0">
                  <a:pos x="24" y="61"/>
                </a:cxn>
                <a:cxn ang="0">
                  <a:pos x="24" y="46"/>
                </a:cxn>
                <a:cxn ang="0">
                  <a:pos x="55" y="51"/>
                </a:cxn>
                <a:cxn ang="0">
                  <a:pos x="55" y="55"/>
                </a:cxn>
                <a:cxn ang="0">
                  <a:pos x="42" y="61"/>
                </a:cxn>
                <a:cxn ang="0">
                  <a:pos x="19" y="35"/>
                </a:cxn>
                <a:cxn ang="0">
                  <a:pos x="47" y="37"/>
                </a:cxn>
                <a:cxn ang="0">
                  <a:pos x="47" y="32"/>
                </a:cxn>
                <a:cxn ang="0">
                  <a:pos x="39" y="27"/>
                </a:cxn>
                <a:cxn ang="0">
                  <a:pos x="55" y="35"/>
                </a:cxn>
                <a:cxn ang="0">
                  <a:pos x="24" y="42"/>
                </a:cxn>
                <a:cxn ang="0">
                  <a:pos x="24" y="27"/>
                </a:cxn>
                <a:cxn ang="0">
                  <a:pos x="29" y="32"/>
                </a:cxn>
                <a:cxn ang="0">
                  <a:pos x="12" y="33"/>
                </a:cxn>
                <a:cxn ang="0">
                  <a:pos x="8" y="41"/>
                </a:cxn>
                <a:cxn ang="0">
                  <a:pos x="11" y="35"/>
                </a:cxn>
                <a:cxn ang="0">
                  <a:pos x="8" y="28"/>
                </a:cxn>
                <a:cxn ang="0">
                  <a:pos x="7" y="18"/>
                </a:cxn>
                <a:cxn ang="0">
                  <a:pos x="0" y="23"/>
                </a:cxn>
                <a:cxn ang="0">
                  <a:pos x="7" y="18"/>
                </a:cxn>
                <a:cxn ang="0">
                  <a:pos x="55" y="23"/>
                </a:cxn>
                <a:cxn ang="0">
                  <a:pos x="14" y="18"/>
                </a:cxn>
                <a:cxn ang="0">
                  <a:pos x="47" y="9"/>
                </a:cxn>
                <a:cxn ang="0">
                  <a:pos x="47" y="4"/>
                </a:cxn>
                <a:cxn ang="0">
                  <a:pos x="14" y="0"/>
                </a:cxn>
                <a:cxn ang="0">
                  <a:pos x="55" y="4"/>
                </a:cxn>
                <a:cxn ang="0">
                  <a:pos x="55" y="8"/>
                </a:cxn>
                <a:cxn ang="0">
                  <a:pos x="14" y="14"/>
                </a:cxn>
                <a:cxn ang="0">
                  <a:pos x="47" y="9"/>
                </a:cxn>
                <a:cxn ang="0">
                  <a:pos x="8" y="2"/>
                </a:cxn>
                <a:cxn ang="0">
                  <a:pos x="12" y="12"/>
                </a:cxn>
              </a:cxnLst>
              <a:rect l="0" t="0" r="r" b="b"/>
              <a:pathLst>
                <a:path w="55" h="61">
                  <a:moveTo>
                    <a:pt x="37" y="51"/>
                  </a:moveTo>
                  <a:cubicBezTo>
                    <a:pt x="37" y="52"/>
                    <a:pt x="37" y="53"/>
                    <a:pt x="38" y="53"/>
                  </a:cubicBezTo>
                  <a:cubicBezTo>
                    <a:pt x="38" y="54"/>
                    <a:pt x="38" y="54"/>
                    <a:pt x="39" y="54"/>
                  </a:cubicBezTo>
                  <a:cubicBezTo>
                    <a:pt x="39" y="55"/>
                    <a:pt x="41" y="56"/>
                    <a:pt x="43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50" y="56"/>
                    <a:pt x="50" y="55"/>
                    <a:pt x="50" y="54"/>
                  </a:cubicBezTo>
                  <a:cubicBezTo>
                    <a:pt x="50" y="52"/>
                    <a:pt x="50" y="51"/>
                    <a:pt x="4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2" y="61"/>
                  </a:moveTo>
                  <a:cubicBezTo>
                    <a:pt x="39" y="61"/>
                    <a:pt x="37" y="59"/>
                    <a:pt x="35" y="57"/>
                  </a:cubicBezTo>
                  <a:cubicBezTo>
                    <a:pt x="34" y="56"/>
                    <a:pt x="33" y="55"/>
                    <a:pt x="33" y="54"/>
                  </a:cubicBezTo>
                  <a:cubicBezTo>
                    <a:pt x="32" y="53"/>
                    <a:pt x="31" y="52"/>
                    <a:pt x="31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0" y="51"/>
                    <a:pt x="19" y="52"/>
                    <a:pt x="19" y="53"/>
                  </a:cubicBezTo>
                  <a:cubicBezTo>
                    <a:pt x="19" y="55"/>
                    <a:pt x="20" y="55"/>
                    <a:pt x="22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18" y="61"/>
                    <a:pt x="14" y="58"/>
                    <a:pt x="14" y="53"/>
                  </a:cubicBezTo>
                  <a:cubicBezTo>
                    <a:pt x="14" y="49"/>
                    <a:pt x="18" y="46"/>
                    <a:pt x="24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5" y="52"/>
                    <a:pt x="55" y="53"/>
                    <a:pt x="55" y="55"/>
                  </a:cubicBezTo>
                  <a:cubicBezTo>
                    <a:pt x="55" y="59"/>
                    <a:pt x="52" y="61"/>
                    <a:pt x="46" y="61"/>
                  </a:cubicBezTo>
                  <a:cubicBezTo>
                    <a:pt x="42" y="61"/>
                    <a:pt x="42" y="61"/>
                    <a:pt x="42" y="61"/>
                  </a:cubicBezTo>
                  <a:close/>
                  <a:moveTo>
                    <a:pt x="22" y="32"/>
                  </a:moveTo>
                  <a:cubicBezTo>
                    <a:pt x="20" y="32"/>
                    <a:pt x="19" y="33"/>
                    <a:pt x="19" y="35"/>
                  </a:cubicBezTo>
                  <a:cubicBezTo>
                    <a:pt x="19" y="36"/>
                    <a:pt x="20" y="37"/>
                    <a:pt x="22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50" y="37"/>
                    <a:pt x="50" y="36"/>
                    <a:pt x="50" y="35"/>
                  </a:cubicBezTo>
                  <a:cubicBezTo>
                    <a:pt x="50" y="33"/>
                    <a:pt x="50" y="32"/>
                    <a:pt x="47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52" y="27"/>
                    <a:pt x="55" y="30"/>
                    <a:pt x="55" y="35"/>
                  </a:cubicBezTo>
                  <a:cubicBezTo>
                    <a:pt x="55" y="40"/>
                    <a:pt x="52" y="42"/>
                    <a:pt x="46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8" y="42"/>
                    <a:pt x="14" y="40"/>
                    <a:pt x="14" y="35"/>
                  </a:cubicBezTo>
                  <a:cubicBezTo>
                    <a:pt x="14" y="30"/>
                    <a:pt x="18" y="27"/>
                    <a:pt x="24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32"/>
                    <a:pt x="29" y="32"/>
                    <a:pt x="29" y="32"/>
                  </a:cubicBezTo>
                  <a:lnTo>
                    <a:pt x="22" y="32"/>
                  </a:lnTo>
                  <a:close/>
                  <a:moveTo>
                    <a:pt x="12" y="33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12" y="33"/>
                  </a:lnTo>
                  <a:close/>
                  <a:moveTo>
                    <a:pt x="7" y="18"/>
                  </a:moveTo>
                  <a:cubicBezTo>
                    <a:pt x="7" y="23"/>
                    <a:pt x="7" y="23"/>
                    <a:pt x="7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7" y="18"/>
                  </a:lnTo>
                  <a:close/>
                  <a:moveTo>
                    <a:pt x="55" y="18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18"/>
                    <a:pt x="14" y="18"/>
                    <a:pt x="14" y="18"/>
                  </a:cubicBezTo>
                  <a:lnTo>
                    <a:pt x="55" y="18"/>
                  </a:lnTo>
                  <a:close/>
                  <a:moveTo>
                    <a:pt x="47" y="9"/>
                  </a:moveTo>
                  <a:cubicBezTo>
                    <a:pt x="50" y="9"/>
                    <a:pt x="50" y="8"/>
                    <a:pt x="50" y="7"/>
                  </a:cubicBezTo>
                  <a:cubicBezTo>
                    <a:pt x="50" y="5"/>
                    <a:pt x="50" y="4"/>
                    <a:pt x="47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5" y="5"/>
                    <a:pt x="55" y="7"/>
                    <a:pt x="55" y="8"/>
                  </a:cubicBezTo>
                  <a:cubicBezTo>
                    <a:pt x="55" y="12"/>
                    <a:pt x="52" y="14"/>
                    <a:pt x="46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47" y="9"/>
                    <a:pt x="47" y="9"/>
                    <a:pt x="47" y="9"/>
                  </a:cubicBezTo>
                  <a:close/>
                  <a:moveTo>
                    <a:pt x="8" y="1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8" y="12"/>
                    <a:pt x="8" y="12"/>
                    <a:pt x="8" y="12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83"/>
            <p:cNvSpPr>
              <a:spLocks noEditPoints="1"/>
            </p:cNvSpPr>
            <p:nvPr/>
          </p:nvSpPr>
          <p:spPr bwMode="auto">
            <a:xfrm>
              <a:off x="6577014" y="2841240"/>
              <a:ext cx="155575" cy="97631"/>
            </a:xfrm>
            <a:custGeom>
              <a:avLst/>
              <a:gdLst/>
              <a:ahLst/>
              <a:cxnLst>
                <a:cxn ang="0">
                  <a:pos x="14" y="46"/>
                </a:cxn>
                <a:cxn ang="0">
                  <a:pos x="14" y="44"/>
                </a:cxn>
                <a:cxn ang="0">
                  <a:pos x="0" y="44"/>
                </a:cxn>
                <a:cxn ang="0">
                  <a:pos x="0" y="40"/>
                </a:cxn>
                <a:cxn ang="0">
                  <a:pos x="14" y="40"/>
                </a:cxn>
                <a:cxn ang="0">
                  <a:pos x="14" y="37"/>
                </a:cxn>
                <a:cxn ang="0">
                  <a:pos x="19" y="37"/>
                </a:cxn>
                <a:cxn ang="0">
                  <a:pos x="19" y="40"/>
                </a:cxn>
                <a:cxn ang="0">
                  <a:pos x="48" y="40"/>
                </a:cxn>
                <a:cxn ang="0">
                  <a:pos x="50" y="37"/>
                </a:cxn>
                <a:cxn ang="0">
                  <a:pos x="55" y="37"/>
                </a:cxn>
                <a:cxn ang="0">
                  <a:pos x="45" y="44"/>
                </a:cxn>
                <a:cxn ang="0">
                  <a:pos x="19" y="44"/>
                </a:cxn>
                <a:cxn ang="0">
                  <a:pos x="19" y="46"/>
                </a:cxn>
                <a:cxn ang="0">
                  <a:pos x="14" y="46"/>
                </a:cxn>
                <a:cxn ang="0">
                  <a:pos x="37" y="24"/>
                </a:cxn>
                <a:cxn ang="0">
                  <a:pos x="38" y="26"/>
                </a:cxn>
                <a:cxn ang="0">
                  <a:pos x="39" y="27"/>
                </a:cxn>
                <a:cxn ang="0">
                  <a:pos x="43" y="28"/>
                </a:cxn>
                <a:cxn ang="0">
                  <a:pos x="48" y="28"/>
                </a:cxn>
                <a:cxn ang="0">
                  <a:pos x="50" y="26"/>
                </a:cxn>
                <a:cxn ang="0">
                  <a:pos x="48" y="24"/>
                </a:cxn>
                <a:cxn ang="0">
                  <a:pos x="37" y="24"/>
                </a:cxn>
                <a:cxn ang="0">
                  <a:pos x="42" y="33"/>
                </a:cxn>
                <a:cxn ang="0">
                  <a:pos x="35" y="30"/>
                </a:cxn>
                <a:cxn ang="0">
                  <a:pos x="32" y="26"/>
                </a:cxn>
                <a:cxn ang="0">
                  <a:pos x="31" y="24"/>
                </a:cxn>
                <a:cxn ang="0">
                  <a:pos x="22" y="24"/>
                </a:cxn>
                <a:cxn ang="0">
                  <a:pos x="19" y="26"/>
                </a:cxn>
                <a:cxn ang="0">
                  <a:pos x="22" y="28"/>
                </a:cxn>
                <a:cxn ang="0">
                  <a:pos x="30" y="28"/>
                </a:cxn>
                <a:cxn ang="0">
                  <a:pos x="30" y="33"/>
                </a:cxn>
                <a:cxn ang="0">
                  <a:pos x="24" y="33"/>
                </a:cxn>
                <a:cxn ang="0">
                  <a:pos x="14" y="26"/>
                </a:cxn>
                <a:cxn ang="0">
                  <a:pos x="24" y="19"/>
                </a:cxn>
                <a:cxn ang="0">
                  <a:pos x="55" y="19"/>
                </a:cxn>
                <a:cxn ang="0">
                  <a:pos x="55" y="24"/>
                </a:cxn>
                <a:cxn ang="0">
                  <a:pos x="54" y="24"/>
                </a:cxn>
                <a:cxn ang="0">
                  <a:pos x="55" y="28"/>
                </a:cxn>
                <a:cxn ang="0">
                  <a:pos x="45" y="33"/>
                </a:cxn>
                <a:cxn ang="0">
                  <a:pos x="42" y="33"/>
                </a:cxn>
                <a:cxn ang="0">
                  <a:pos x="48" y="10"/>
                </a:cxn>
                <a:cxn ang="0">
                  <a:pos x="50" y="8"/>
                </a:cxn>
                <a:cxn ang="0">
                  <a:pos x="48" y="5"/>
                </a:cxn>
                <a:cxn ang="0">
                  <a:pos x="14" y="5"/>
                </a:cxn>
                <a:cxn ang="0">
                  <a:pos x="14" y="0"/>
                </a:cxn>
                <a:cxn ang="0">
                  <a:pos x="55" y="0"/>
                </a:cxn>
                <a:cxn ang="0">
                  <a:pos x="55" y="5"/>
                </a:cxn>
                <a:cxn ang="0">
                  <a:pos x="54" y="5"/>
                </a:cxn>
                <a:cxn ang="0">
                  <a:pos x="55" y="9"/>
                </a:cxn>
                <a:cxn ang="0">
                  <a:pos x="45" y="14"/>
                </a:cxn>
                <a:cxn ang="0">
                  <a:pos x="14" y="14"/>
                </a:cxn>
                <a:cxn ang="0">
                  <a:pos x="14" y="10"/>
                </a:cxn>
                <a:cxn ang="0">
                  <a:pos x="48" y="10"/>
                </a:cxn>
              </a:cxnLst>
              <a:rect l="0" t="0" r="r" b="b"/>
              <a:pathLst>
                <a:path w="55" h="46">
                  <a:moveTo>
                    <a:pt x="14" y="46"/>
                  </a:moveTo>
                  <a:cubicBezTo>
                    <a:pt x="14" y="44"/>
                    <a:pt x="14" y="44"/>
                    <a:pt x="1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9" y="40"/>
                    <a:pt x="50" y="39"/>
                    <a:pt x="50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42"/>
                    <a:pt x="52" y="44"/>
                    <a:pt x="45" y="44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6"/>
                    <a:pt x="19" y="46"/>
                    <a:pt x="19" y="46"/>
                  </a:cubicBezTo>
                  <a:lnTo>
                    <a:pt x="14" y="46"/>
                  </a:lnTo>
                  <a:close/>
                  <a:moveTo>
                    <a:pt x="37" y="24"/>
                  </a:moveTo>
                  <a:cubicBezTo>
                    <a:pt x="37" y="24"/>
                    <a:pt x="37" y="25"/>
                    <a:pt x="38" y="26"/>
                  </a:cubicBezTo>
                  <a:cubicBezTo>
                    <a:pt x="38" y="26"/>
                    <a:pt x="39" y="27"/>
                    <a:pt x="39" y="27"/>
                  </a:cubicBezTo>
                  <a:cubicBezTo>
                    <a:pt x="40" y="28"/>
                    <a:pt x="41" y="28"/>
                    <a:pt x="43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8"/>
                    <a:pt x="50" y="28"/>
                    <a:pt x="50" y="26"/>
                  </a:cubicBezTo>
                  <a:cubicBezTo>
                    <a:pt x="50" y="24"/>
                    <a:pt x="49" y="24"/>
                    <a:pt x="48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42" y="33"/>
                  </a:moveTo>
                  <a:cubicBezTo>
                    <a:pt x="39" y="33"/>
                    <a:pt x="37" y="32"/>
                    <a:pt x="35" y="30"/>
                  </a:cubicBezTo>
                  <a:cubicBezTo>
                    <a:pt x="34" y="28"/>
                    <a:pt x="34" y="27"/>
                    <a:pt x="32" y="26"/>
                  </a:cubicBezTo>
                  <a:cubicBezTo>
                    <a:pt x="32" y="26"/>
                    <a:pt x="31" y="24"/>
                    <a:pt x="31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0" y="24"/>
                    <a:pt x="19" y="24"/>
                    <a:pt x="19" y="26"/>
                  </a:cubicBezTo>
                  <a:cubicBezTo>
                    <a:pt x="19" y="27"/>
                    <a:pt x="20" y="28"/>
                    <a:pt x="22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7" y="33"/>
                    <a:pt x="14" y="31"/>
                    <a:pt x="14" y="26"/>
                  </a:cubicBezTo>
                  <a:cubicBezTo>
                    <a:pt x="14" y="22"/>
                    <a:pt x="17" y="19"/>
                    <a:pt x="2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4"/>
                    <a:pt x="55" y="26"/>
                    <a:pt x="55" y="28"/>
                  </a:cubicBezTo>
                  <a:cubicBezTo>
                    <a:pt x="55" y="32"/>
                    <a:pt x="52" y="33"/>
                    <a:pt x="45" y="33"/>
                  </a:cubicBezTo>
                  <a:lnTo>
                    <a:pt x="42" y="33"/>
                  </a:lnTo>
                  <a:close/>
                  <a:moveTo>
                    <a:pt x="48" y="10"/>
                  </a:moveTo>
                  <a:cubicBezTo>
                    <a:pt x="49" y="10"/>
                    <a:pt x="50" y="9"/>
                    <a:pt x="50" y="8"/>
                  </a:cubicBezTo>
                  <a:cubicBezTo>
                    <a:pt x="50" y="6"/>
                    <a:pt x="49" y="5"/>
                    <a:pt x="48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5" y="5"/>
                    <a:pt x="55" y="7"/>
                    <a:pt x="55" y="9"/>
                  </a:cubicBezTo>
                  <a:cubicBezTo>
                    <a:pt x="55" y="13"/>
                    <a:pt x="52" y="14"/>
                    <a:pt x="4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48" y="10"/>
                    <a:pt x="48" y="10"/>
                    <a:pt x="48" y="1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85" name="Gruppieren 163"/>
            <p:cNvGrpSpPr/>
            <p:nvPr/>
          </p:nvGrpSpPr>
          <p:grpSpPr>
            <a:xfrm>
              <a:off x="3625852" y="1577987"/>
              <a:ext cx="941387" cy="339329"/>
              <a:chOff x="3625851" y="1522413"/>
              <a:chExt cx="941387" cy="452438"/>
            </a:xfrm>
            <a:solidFill>
              <a:schemeClr val="accent5"/>
            </a:solidFill>
          </p:grpSpPr>
          <p:sp>
            <p:nvSpPr>
              <p:cNvPr id="168" name="Freeform 84"/>
              <p:cNvSpPr>
                <a:spLocks noEditPoints="1"/>
              </p:cNvSpPr>
              <p:nvPr/>
            </p:nvSpPr>
            <p:spPr bwMode="auto">
              <a:xfrm>
                <a:off x="3625851" y="1522413"/>
                <a:ext cx="455613" cy="452438"/>
              </a:xfrm>
              <a:custGeom>
                <a:avLst/>
                <a:gdLst/>
                <a:ahLst/>
                <a:cxnLst>
                  <a:cxn ang="0">
                    <a:pos x="52" y="39"/>
                  </a:cxn>
                  <a:cxn ang="0">
                    <a:pos x="0" y="29"/>
                  </a:cxn>
                  <a:cxn ang="0">
                    <a:pos x="48" y="99"/>
                  </a:cxn>
                  <a:cxn ang="0">
                    <a:pos x="16" y="149"/>
                  </a:cxn>
                  <a:cxn ang="0">
                    <a:pos x="7" y="158"/>
                  </a:cxn>
                  <a:cxn ang="0">
                    <a:pos x="48" y="99"/>
                  </a:cxn>
                  <a:cxn ang="0">
                    <a:pos x="48" y="62"/>
                  </a:cxn>
                  <a:cxn ang="0">
                    <a:pos x="7" y="52"/>
                  </a:cxn>
                  <a:cxn ang="0">
                    <a:pos x="7" y="85"/>
                  </a:cxn>
                  <a:cxn ang="0">
                    <a:pos x="48" y="76"/>
                  </a:cxn>
                  <a:cxn ang="0">
                    <a:pos x="7" y="85"/>
                  </a:cxn>
                  <a:cxn ang="0">
                    <a:pos x="48" y="16"/>
                  </a:cxn>
                  <a:cxn ang="0">
                    <a:pos x="8" y="6"/>
                  </a:cxn>
                  <a:cxn ang="0">
                    <a:pos x="39" y="109"/>
                  </a:cxn>
                  <a:cxn ang="0">
                    <a:pos x="16" y="140"/>
                  </a:cxn>
                  <a:cxn ang="0">
                    <a:pos x="39" y="109"/>
                  </a:cxn>
                  <a:cxn ang="0">
                    <a:pos x="104" y="80"/>
                  </a:cxn>
                  <a:cxn ang="0">
                    <a:pos x="110" y="85"/>
                  </a:cxn>
                  <a:cxn ang="0">
                    <a:pos x="104" y="147"/>
                  </a:cxn>
                  <a:cxn ang="0">
                    <a:pos x="72" y="150"/>
                  </a:cxn>
                  <a:cxn ang="0">
                    <a:pos x="94" y="147"/>
                  </a:cxn>
                  <a:cxn ang="0">
                    <a:pos x="56" y="146"/>
                  </a:cxn>
                  <a:cxn ang="0">
                    <a:pos x="88" y="102"/>
                  </a:cxn>
                  <a:cxn ang="0">
                    <a:pos x="56" y="111"/>
                  </a:cxn>
                  <a:cxn ang="0">
                    <a:pos x="60" y="98"/>
                  </a:cxn>
                  <a:cxn ang="0">
                    <a:pos x="73" y="18"/>
                  </a:cxn>
                  <a:cxn ang="0">
                    <a:pos x="92" y="3"/>
                  </a:cxn>
                  <a:cxn ang="0">
                    <a:pos x="84" y="18"/>
                  </a:cxn>
                  <a:cxn ang="0">
                    <a:pos x="94" y="27"/>
                  </a:cxn>
                  <a:cxn ang="0">
                    <a:pos x="69" y="42"/>
                  </a:cxn>
                  <a:cxn ang="0">
                    <a:pos x="94" y="27"/>
                  </a:cxn>
                  <a:cxn ang="0">
                    <a:pos x="94" y="51"/>
                  </a:cxn>
                  <a:cxn ang="0">
                    <a:pos x="69" y="67"/>
                  </a:cxn>
                  <a:cxn ang="0">
                    <a:pos x="69" y="76"/>
                  </a:cxn>
                  <a:cxn ang="0">
                    <a:pos x="94" y="91"/>
                  </a:cxn>
                  <a:cxn ang="0">
                    <a:pos x="69" y="76"/>
                  </a:cxn>
                  <a:cxn ang="0">
                    <a:pos x="161" y="55"/>
                  </a:cxn>
                  <a:cxn ang="0">
                    <a:pos x="150" y="146"/>
                  </a:cxn>
                  <a:cxn ang="0">
                    <a:pos x="117" y="149"/>
                  </a:cxn>
                  <a:cxn ang="0">
                    <a:pos x="140" y="146"/>
                  </a:cxn>
                  <a:cxn ang="0">
                    <a:pos x="108" y="55"/>
                  </a:cxn>
                  <a:cxn ang="0">
                    <a:pos x="140" y="44"/>
                  </a:cxn>
                  <a:cxn ang="0">
                    <a:pos x="154" y="2"/>
                  </a:cxn>
                  <a:cxn ang="0">
                    <a:pos x="150" y="44"/>
                  </a:cxn>
                  <a:cxn ang="0">
                    <a:pos x="121" y="70"/>
                  </a:cxn>
                  <a:cxn ang="0">
                    <a:pos x="122" y="115"/>
                  </a:cxn>
                  <a:cxn ang="0">
                    <a:pos x="121" y="70"/>
                  </a:cxn>
                </a:cxnLst>
                <a:rect l="0" t="0" r="r" b="b"/>
                <a:pathLst>
                  <a:path w="161" h="160">
                    <a:moveTo>
                      <a:pt x="52" y="29"/>
                    </a:moveTo>
                    <a:cubicBezTo>
                      <a:pt x="52" y="39"/>
                      <a:pt x="52" y="39"/>
                      <a:pt x="5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9"/>
                      <a:pt x="0" y="29"/>
                      <a:pt x="0" y="29"/>
                    </a:cubicBezTo>
                    <a:lnTo>
                      <a:pt x="52" y="29"/>
                    </a:lnTo>
                    <a:close/>
                    <a:moveTo>
                      <a:pt x="48" y="99"/>
                    </a:moveTo>
                    <a:cubicBezTo>
                      <a:pt x="48" y="149"/>
                      <a:pt x="48" y="149"/>
                      <a:pt x="48" y="149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99"/>
                      <a:pt x="7" y="99"/>
                      <a:pt x="7" y="99"/>
                    </a:cubicBezTo>
                    <a:lnTo>
                      <a:pt x="48" y="99"/>
                    </a:lnTo>
                    <a:close/>
                    <a:moveTo>
                      <a:pt x="48" y="52"/>
                    </a:moveTo>
                    <a:cubicBezTo>
                      <a:pt x="48" y="62"/>
                      <a:pt x="48" y="62"/>
                      <a:pt x="48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7" y="52"/>
                      <a:pt x="7" y="52"/>
                      <a:pt x="7" y="52"/>
                    </a:cubicBezTo>
                    <a:lnTo>
                      <a:pt x="48" y="52"/>
                    </a:lnTo>
                    <a:close/>
                    <a:moveTo>
                      <a:pt x="7" y="85"/>
                    </a:moveTo>
                    <a:cubicBezTo>
                      <a:pt x="7" y="76"/>
                      <a:pt x="7" y="76"/>
                      <a:pt x="7" y="76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8" y="85"/>
                      <a:pt x="48" y="85"/>
                      <a:pt x="48" y="85"/>
                    </a:cubicBezTo>
                    <a:lnTo>
                      <a:pt x="7" y="85"/>
                    </a:lnTo>
                    <a:close/>
                    <a:moveTo>
                      <a:pt x="48" y="6"/>
                    </a:moveTo>
                    <a:cubicBezTo>
                      <a:pt x="48" y="16"/>
                      <a:pt x="48" y="16"/>
                      <a:pt x="48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48" y="6"/>
                    </a:lnTo>
                    <a:close/>
                    <a:moveTo>
                      <a:pt x="39" y="109"/>
                    </a:moveTo>
                    <a:cubicBezTo>
                      <a:pt x="16" y="109"/>
                      <a:pt x="16" y="109"/>
                      <a:pt x="16" y="109"/>
                    </a:cubicBezTo>
                    <a:cubicBezTo>
                      <a:pt x="16" y="140"/>
                      <a:pt x="16" y="140"/>
                      <a:pt x="16" y="140"/>
                    </a:cubicBezTo>
                    <a:cubicBezTo>
                      <a:pt x="39" y="140"/>
                      <a:pt x="39" y="140"/>
                      <a:pt x="39" y="140"/>
                    </a:cubicBezTo>
                    <a:cubicBezTo>
                      <a:pt x="39" y="109"/>
                      <a:pt x="39" y="109"/>
                      <a:pt x="39" y="109"/>
                    </a:cubicBezTo>
                    <a:close/>
                    <a:moveTo>
                      <a:pt x="104" y="18"/>
                    </a:moveTo>
                    <a:cubicBezTo>
                      <a:pt x="104" y="80"/>
                      <a:pt x="104" y="80"/>
                      <a:pt x="104" y="80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4" y="85"/>
                      <a:pt x="112" y="86"/>
                      <a:pt x="110" y="85"/>
                    </a:cubicBezTo>
                    <a:cubicBezTo>
                      <a:pt x="108" y="89"/>
                      <a:pt x="107" y="92"/>
                      <a:pt x="104" y="96"/>
                    </a:cubicBezTo>
                    <a:cubicBezTo>
                      <a:pt x="104" y="147"/>
                      <a:pt x="104" y="147"/>
                      <a:pt x="104" y="147"/>
                    </a:cubicBezTo>
                    <a:cubicBezTo>
                      <a:pt x="104" y="159"/>
                      <a:pt x="98" y="160"/>
                      <a:pt x="76" y="160"/>
                    </a:cubicBezTo>
                    <a:cubicBezTo>
                      <a:pt x="76" y="157"/>
                      <a:pt x="74" y="152"/>
                      <a:pt x="72" y="150"/>
                    </a:cubicBezTo>
                    <a:cubicBezTo>
                      <a:pt x="77" y="150"/>
                      <a:pt x="81" y="150"/>
                      <a:pt x="84" y="150"/>
                    </a:cubicBezTo>
                    <a:cubicBezTo>
                      <a:pt x="93" y="150"/>
                      <a:pt x="94" y="150"/>
                      <a:pt x="94" y="147"/>
                    </a:cubicBezTo>
                    <a:cubicBezTo>
                      <a:pt x="94" y="110"/>
                      <a:pt x="94" y="110"/>
                      <a:pt x="94" y="110"/>
                    </a:cubicBezTo>
                    <a:cubicBezTo>
                      <a:pt x="83" y="124"/>
                      <a:pt x="70" y="137"/>
                      <a:pt x="56" y="146"/>
                    </a:cubicBezTo>
                    <a:cubicBezTo>
                      <a:pt x="55" y="144"/>
                      <a:pt x="52" y="140"/>
                      <a:pt x="49" y="138"/>
                    </a:cubicBezTo>
                    <a:cubicBezTo>
                      <a:pt x="63" y="129"/>
                      <a:pt x="77" y="116"/>
                      <a:pt x="88" y="102"/>
                    </a:cubicBezTo>
                    <a:cubicBezTo>
                      <a:pt x="76" y="104"/>
                      <a:pt x="66" y="107"/>
                      <a:pt x="58" y="108"/>
                    </a:cubicBezTo>
                    <a:cubicBezTo>
                      <a:pt x="58" y="109"/>
                      <a:pt x="57" y="110"/>
                      <a:pt x="56" y="111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5" y="12"/>
                      <a:pt x="77" y="5"/>
                      <a:pt x="78" y="0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91" y="4"/>
                      <a:pt x="90" y="5"/>
                      <a:pt x="88" y="5"/>
                    </a:cubicBezTo>
                    <a:cubicBezTo>
                      <a:pt x="87" y="8"/>
                      <a:pt x="85" y="13"/>
                      <a:pt x="84" y="18"/>
                    </a:cubicBezTo>
                    <a:cubicBezTo>
                      <a:pt x="104" y="18"/>
                      <a:pt x="104" y="18"/>
                      <a:pt x="104" y="18"/>
                    </a:cubicBezTo>
                    <a:close/>
                    <a:moveTo>
                      <a:pt x="94" y="27"/>
                    </a:moveTo>
                    <a:cubicBezTo>
                      <a:pt x="69" y="27"/>
                      <a:pt x="69" y="27"/>
                      <a:pt x="69" y="27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94" y="42"/>
                      <a:pt x="94" y="42"/>
                      <a:pt x="94" y="42"/>
                    </a:cubicBezTo>
                    <a:lnTo>
                      <a:pt x="94" y="27"/>
                    </a:lnTo>
                    <a:close/>
                    <a:moveTo>
                      <a:pt x="94" y="67"/>
                    </a:moveTo>
                    <a:cubicBezTo>
                      <a:pt x="94" y="51"/>
                      <a:pt x="94" y="51"/>
                      <a:pt x="94" y="51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69" y="67"/>
                      <a:pt x="69" y="67"/>
                      <a:pt x="69" y="67"/>
                    </a:cubicBezTo>
                    <a:lnTo>
                      <a:pt x="94" y="67"/>
                    </a:lnTo>
                    <a:close/>
                    <a:moveTo>
                      <a:pt x="69" y="7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77" y="94"/>
                      <a:pt x="86" y="93"/>
                      <a:pt x="94" y="91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69" y="76"/>
                      <a:pt x="69" y="76"/>
                      <a:pt x="69" y="76"/>
                    </a:cubicBezTo>
                    <a:close/>
                    <a:moveTo>
                      <a:pt x="161" y="44"/>
                    </a:moveTo>
                    <a:cubicBezTo>
                      <a:pt x="161" y="55"/>
                      <a:pt x="161" y="55"/>
                      <a:pt x="161" y="55"/>
                    </a:cubicBezTo>
                    <a:cubicBezTo>
                      <a:pt x="150" y="55"/>
                      <a:pt x="150" y="55"/>
                      <a:pt x="150" y="55"/>
                    </a:cubicBezTo>
                    <a:cubicBezTo>
                      <a:pt x="150" y="146"/>
                      <a:pt x="150" y="146"/>
                      <a:pt x="150" y="146"/>
                    </a:cubicBezTo>
                    <a:cubicBezTo>
                      <a:pt x="150" y="159"/>
                      <a:pt x="144" y="160"/>
                      <a:pt x="121" y="160"/>
                    </a:cubicBezTo>
                    <a:cubicBezTo>
                      <a:pt x="120" y="157"/>
                      <a:pt x="119" y="152"/>
                      <a:pt x="117" y="149"/>
                    </a:cubicBezTo>
                    <a:cubicBezTo>
                      <a:pt x="122" y="149"/>
                      <a:pt x="126" y="149"/>
                      <a:pt x="129" y="149"/>
                    </a:cubicBezTo>
                    <a:cubicBezTo>
                      <a:pt x="139" y="149"/>
                      <a:pt x="140" y="149"/>
                      <a:pt x="140" y="146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108" y="55"/>
                      <a:pt x="108" y="55"/>
                      <a:pt x="108" y="55"/>
                    </a:cubicBezTo>
                    <a:cubicBezTo>
                      <a:pt x="108" y="44"/>
                      <a:pt x="108" y="44"/>
                      <a:pt x="108" y="44"/>
                    </a:cubicBezTo>
                    <a:cubicBezTo>
                      <a:pt x="140" y="44"/>
                      <a:pt x="140" y="44"/>
                      <a:pt x="140" y="44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54" y="2"/>
                      <a:pt x="154" y="2"/>
                      <a:pt x="154" y="2"/>
                    </a:cubicBezTo>
                    <a:cubicBezTo>
                      <a:pt x="154" y="4"/>
                      <a:pt x="153" y="4"/>
                      <a:pt x="150" y="5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161" y="44"/>
                      <a:pt x="161" y="44"/>
                      <a:pt x="161" y="44"/>
                    </a:cubicBezTo>
                    <a:close/>
                    <a:moveTo>
                      <a:pt x="121" y="70"/>
                    </a:moveTo>
                    <a:cubicBezTo>
                      <a:pt x="127" y="84"/>
                      <a:pt x="131" y="101"/>
                      <a:pt x="132" y="112"/>
                    </a:cubicBezTo>
                    <a:cubicBezTo>
                      <a:pt x="131" y="113"/>
                      <a:pt x="130" y="113"/>
                      <a:pt x="122" y="115"/>
                    </a:cubicBezTo>
                    <a:cubicBezTo>
                      <a:pt x="122" y="103"/>
                      <a:pt x="118" y="86"/>
                      <a:pt x="113" y="72"/>
                    </a:cubicBezTo>
                    <a:lnTo>
                      <a:pt x="121" y="7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85"/>
              <p:cNvSpPr>
                <a:spLocks noEditPoints="1"/>
              </p:cNvSpPr>
              <p:nvPr/>
            </p:nvSpPr>
            <p:spPr bwMode="auto">
              <a:xfrm>
                <a:off x="4113213" y="1522413"/>
                <a:ext cx="454025" cy="452438"/>
              </a:xfrm>
              <a:custGeom>
                <a:avLst/>
                <a:gdLst/>
                <a:ahLst/>
                <a:cxnLst>
                  <a:cxn ang="0">
                    <a:pos x="52" y="39"/>
                  </a:cxn>
                  <a:cxn ang="0">
                    <a:pos x="0" y="29"/>
                  </a:cxn>
                  <a:cxn ang="0">
                    <a:pos x="48" y="99"/>
                  </a:cxn>
                  <a:cxn ang="0">
                    <a:pos x="16" y="149"/>
                  </a:cxn>
                  <a:cxn ang="0">
                    <a:pos x="7" y="158"/>
                  </a:cxn>
                  <a:cxn ang="0">
                    <a:pos x="48" y="99"/>
                  </a:cxn>
                  <a:cxn ang="0">
                    <a:pos x="48" y="62"/>
                  </a:cxn>
                  <a:cxn ang="0">
                    <a:pos x="7" y="52"/>
                  </a:cxn>
                  <a:cxn ang="0">
                    <a:pos x="7" y="85"/>
                  </a:cxn>
                  <a:cxn ang="0">
                    <a:pos x="48" y="76"/>
                  </a:cxn>
                  <a:cxn ang="0">
                    <a:pos x="7" y="85"/>
                  </a:cxn>
                  <a:cxn ang="0">
                    <a:pos x="48" y="16"/>
                  </a:cxn>
                  <a:cxn ang="0">
                    <a:pos x="8" y="6"/>
                  </a:cxn>
                  <a:cxn ang="0">
                    <a:pos x="39" y="109"/>
                  </a:cxn>
                  <a:cxn ang="0">
                    <a:pos x="16" y="140"/>
                  </a:cxn>
                  <a:cxn ang="0">
                    <a:pos x="39" y="109"/>
                  </a:cxn>
                  <a:cxn ang="0">
                    <a:pos x="104" y="80"/>
                  </a:cxn>
                  <a:cxn ang="0">
                    <a:pos x="110" y="85"/>
                  </a:cxn>
                  <a:cxn ang="0">
                    <a:pos x="104" y="147"/>
                  </a:cxn>
                  <a:cxn ang="0">
                    <a:pos x="72" y="150"/>
                  </a:cxn>
                  <a:cxn ang="0">
                    <a:pos x="94" y="147"/>
                  </a:cxn>
                  <a:cxn ang="0">
                    <a:pos x="56" y="146"/>
                  </a:cxn>
                  <a:cxn ang="0">
                    <a:pos x="87" y="102"/>
                  </a:cxn>
                  <a:cxn ang="0">
                    <a:pos x="56" y="111"/>
                  </a:cxn>
                  <a:cxn ang="0">
                    <a:pos x="60" y="98"/>
                  </a:cxn>
                  <a:cxn ang="0">
                    <a:pos x="73" y="18"/>
                  </a:cxn>
                  <a:cxn ang="0">
                    <a:pos x="91" y="3"/>
                  </a:cxn>
                  <a:cxn ang="0">
                    <a:pos x="83" y="18"/>
                  </a:cxn>
                  <a:cxn ang="0">
                    <a:pos x="94" y="27"/>
                  </a:cxn>
                  <a:cxn ang="0">
                    <a:pos x="69" y="42"/>
                  </a:cxn>
                  <a:cxn ang="0">
                    <a:pos x="94" y="27"/>
                  </a:cxn>
                  <a:cxn ang="0">
                    <a:pos x="94" y="51"/>
                  </a:cxn>
                  <a:cxn ang="0">
                    <a:pos x="69" y="67"/>
                  </a:cxn>
                  <a:cxn ang="0">
                    <a:pos x="69" y="76"/>
                  </a:cxn>
                  <a:cxn ang="0">
                    <a:pos x="94" y="91"/>
                  </a:cxn>
                  <a:cxn ang="0">
                    <a:pos x="69" y="76"/>
                  </a:cxn>
                  <a:cxn ang="0">
                    <a:pos x="160" y="55"/>
                  </a:cxn>
                  <a:cxn ang="0">
                    <a:pos x="150" y="146"/>
                  </a:cxn>
                  <a:cxn ang="0">
                    <a:pos x="117" y="149"/>
                  </a:cxn>
                  <a:cxn ang="0">
                    <a:pos x="140" y="146"/>
                  </a:cxn>
                  <a:cxn ang="0">
                    <a:pos x="108" y="55"/>
                  </a:cxn>
                  <a:cxn ang="0">
                    <a:pos x="140" y="44"/>
                  </a:cxn>
                  <a:cxn ang="0">
                    <a:pos x="154" y="2"/>
                  </a:cxn>
                  <a:cxn ang="0">
                    <a:pos x="150" y="44"/>
                  </a:cxn>
                  <a:cxn ang="0">
                    <a:pos x="121" y="70"/>
                  </a:cxn>
                  <a:cxn ang="0">
                    <a:pos x="122" y="115"/>
                  </a:cxn>
                  <a:cxn ang="0">
                    <a:pos x="121" y="70"/>
                  </a:cxn>
                </a:cxnLst>
                <a:rect l="0" t="0" r="r" b="b"/>
                <a:pathLst>
                  <a:path w="160" h="160">
                    <a:moveTo>
                      <a:pt x="52" y="29"/>
                    </a:moveTo>
                    <a:cubicBezTo>
                      <a:pt x="52" y="39"/>
                      <a:pt x="52" y="39"/>
                      <a:pt x="52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9"/>
                      <a:pt x="0" y="29"/>
                      <a:pt x="0" y="29"/>
                    </a:cubicBezTo>
                    <a:lnTo>
                      <a:pt x="52" y="29"/>
                    </a:lnTo>
                    <a:close/>
                    <a:moveTo>
                      <a:pt x="48" y="99"/>
                    </a:moveTo>
                    <a:cubicBezTo>
                      <a:pt x="48" y="149"/>
                      <a:pt x="48" y="149"/>
                      <a:pt x="48" y="149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6" y="158"/>
                      <a:pt x="16" y="158"/>
                      <a:pt x="16" y="158"/>
                    </a:cubicBezTo>
                    <a:cubicBezTo>
                      <a:pt x="7" y="158"/>
                      <a:pt x="7" y="158"/>
                      <a:pt x="7" y="158"/>
                    </a:cubicBezTo>
                    <a:cubicBezTo>
                      <a:pt x="7" y="99"/>
                      <a:pt x="7" y="99"/>
                      <a:pt x="7" y="99"/>
                    </a:cubicBezTo>
                    <a:lnTo>
                      <a:pt x="48" y="99"/>
                    </a:lnTo>
                    <a:close/>
                    <a:moveTo>
                      <a:pt x="48" y="52"/>
                    </a:moveTo>
                    <a:cubicBezTo>
                      <a:pt x="48" y="62"/>
                      <a:pt x="48" y="62"/>
                      <a:pt x="48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7" y="52"/>
                      <a:pt x="7" y="52"/>
                      <a:pt x="7" y="52"/>
                    </a:cubicBezTo>
                    <a:lnTo>
                      <a:pt x="48" y="52"/>
                    </a:lnTo>
                    <a:close/>
                    <a:moveTo>
                      <a:pt x="7" y="85"/>
                    </a:moveTo>
                    <a:cubicBezTo>
                      <a:pt x="7" y="76"/>
                      <a:pt x="7" y="76"/>
                      <a:pt x="7" y="76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48" y="85"/>
                      <a:pt x="48" y="85"/>
                      <a:pt x="48" y="85"/>
                    </a:cubicBezTo>
                    <a:lnTo>
                      <a:pt x="7" y="85"/>
                    </a:lnTo>
                    <a:close/>
                    <a:moveTo>
                      <a:pt x="48" y="6"/>
                    </a:moveTo>
                    <a:cubicBezTo>
                      <a:pt x="48" y="16"/>
                      <a:pt x="48" y="16"/>
                      <a:pt x="48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48" y="6"/>
                    </a:lnTo>
                    <a:close/>
                    <a:moveTo>
                      <a:pt x="39" y="109"/>
                    </a:moveTo>
                    <a:cubicBezTo>
                      <a:pt x="16" y="109"/>
                      <a:pt x="16" y="109"/>
                      <a:pt x="16" y="109"/>
                    </a:cubicBezTo>
                    <a:cubicBezTo>
                      <a:pt x="16" y="140"/>
                      <a:pt x="16" y="140"/>
                      <a:pt x="16" y="140"/>
                    </a:cubicBezTo>
                    <a:cubicBezTo>
                      <a:pt x="39" y="140"/>
                      <a:pt x="39" y="140"/>
                      <a:pt x="39" y="140"/>
                    </a:cubicBezTo>
                    <a:lnTo>
                      <a:pt x="39" y="109"/>
                    </a:lnTo>
                    <a:close/>
                    <a:moveTo>
                      <a:pt x="104" y="18"/>
                    </a:moveTo>
                    <a:cubicBezTo>
                      <a:pt x="104" y="80"/>
                      <a:pt x="104" y="80"/>
                      <a:pt x="104" y="80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3" y="85"/>
                      <a:pt x="112" y="86"/>
                      <a:pt x="110" y="85"/>
                    </a:cubicBezTo>
                    <a:cubicBezTo>
                      <a:pt x="108" y="89"/>
                      <a:pt x="106" y="92"/>
                      <a:pt x="104" y="96"/>
                    </a:cubicBezTo>
                    <a:cubicBezTo>
                      <a:pt x="104" y="147"/>
                      <a:pt x="104" y="147"/>
                      <a:pt x="104" y="147"/>
                    </a:cubicBezTo>
                    <a:cubicBezTo>
                      <a:pt x="104" y="159"/>
                      <a:pt x="98" y="160"/>
                      <a:pt x="76" y="160"/>
                    </a:cubicBezTo>
                    <a:cubicBezTo>
                      <a:pt x="75" y="157"/>
                      <a:pt x="74" y="152"/>
                      <a:pt x="72" y="150"/>
                    </a:cubicBezTo>
                    <a:cubicBezTo>
                      <a:pt x="77" y="150"/>
                      <a:pt x="81" y="150"/>
                      <a:pt x="84" y="150"/>
                    </a:cubicBezTo>
                    <a:cubicBezTo>
                      <a:pt x="93" y="150"/>
                      <a:pt x="94" y="150"/>
                      <a:pt x="94" y="147"/>
                    </a:cubicBezTo>
                    <a:cubicBezTo>
                      <a:pt x="94" y="110"/>
                      <a:pt x="94" y="110"/>
                      <a:pt x="94" y="110"/>
                    </a:cubicBezTo>
                    <a:cubicBezTo>
                      <a:pt x="83" y="124"/>
                      <a:pt x="70" y="137"/>
                      <a:pt x="56" y="146"/>
                    </a:cubicBezTo>
                    <a:cubicBezTo>
                      <a:pt x="55" y="144"/>
                      <a:pt x="51" y="140"/>
                      <a:pt x="49" y="138"/>
                    </a:cubicBezTo>
                    <a:cubicBezTo>
                      <a:pt x="63" y="129"/>
                      <a:pt x="76" y="116"/>
                      <a:pt x="87" y="102"/>
                    </a:cubicBezTo>
                    <a:cubicBezTo>
                      <a:pt x="76" y="104"/>
                      <a:pt x="65" y="107"/>
                      <a:pt x="58" y="108"/>
                    </a:cubicBezTo>
                    <a:cubicBezTo>
                      <a:pt x="58" y="109"/>
                      <a:pt x="57" y="110"/>
                      <a:pt x="56" y="111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5" y="12"/>
                      <a:pt x="77" y="5"/>
                      <a:pt x="78" y="0"/>
                    </a:cubicBezTo>
                    <a:cubicBezTo>
                      <a:pt x="91" y="3"/>
                      <a:pt x="91" y="3"/>
                      <a:pt x="91" y="3"/>
                    </a:cubicBezTo>
                    <a:cubicBezTo>
                      <a:pt x="91" y="4"/>
                      <a:pt x="90" y="5"/>
                      <a:pt x="88" y="5"/>
                    </a:cubicBezTo>
                    <a:cubicBezTo>
                      <a:pt x="87" y="8"/>
                      <a:pt x="85" y="13"/>
                      <a:pt x="83" y="18"/>
                    </a:cubicBezTo>
                    <a:cubicBezTo>
                      <a:pt x="104" y="18"/>
                      <a:pt x="104" y="18"/>
                      <a:pt x="104" y="18"/>
                    </a:cubicBezTo>
                    <a:close/>
                    <a:moveTo>
                      <a:pt x="94" y="27"/>
                    </a:moveTo>
                    <a:cubicBezTo>
                      <a:pt x="69" y="27"/>
                      <a:pt x="69" y="27"/>
                      <a:pt x="69" y="27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94" y="42"/>
                      <a:pt x="94" y="42"/>
                      <a:pt x="94" y="42"/>
                    </a:cubicBezTo>
                    <a:lnTo>
                      <a:pt x="94" y="27"/>
                    </a:lnTo>
                    <a:close/>
                    <a:moveTo>
                      <a:pt x="94" y="67"/>
                    </a:moveTo>
                    <a:cubicBezTo>
                      <a:pt x="94" y="51"/>
                      <a:pt x="94" y="51"/>
                      <a:pt x="94" y="51"/>
                    </a:cubicBezTo>
                    <a:cubicBezTo>
                      <a:pt x="69" y="51"/>
                      <a:pt x="69" y="51"/>
                      <a:pt x="69" y="51"/>
                    </a:cubicBezTo>
                    <a:cubicBezTo>
                      <a:pt x="69" y="67"/>
                      <a:pt x="69" y="67"/>
                      <a:pt x="69" y="67"/>
                    </a:cubicBezTo>
                    <a:lnTo>
                      <a:pt x="94" y="67"/>
                    </a:lnTo>
                    <a:close/>
                    <a:moveTo>
                      <a:pt x="69" y="76"/>
                    </a:moveTo>
                    <a:cubicBezTo>
                      <a:pt x="69" y="96"/>
                      <a:pt x="69" y="96"/>
                      <a:pt x="69" y="96"/>
                    </a:cubicBezTo>
                    <a:cubicBezTo>
                      <a:pt x="77" y="94"/>
                      <a:pt x="86" y="93"/>
                      <a:pt x="94" y="91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69" y="76"/>
                      <a:pt x="69" y="76"/>
                      <a:pt x="69" y="76"/>
                    </a:cubicBezTo>
                    <a:close/>
                    <a:moveTo>
                      <a:pt x="160" y="44"/>
                    </a:moveTo>
                    <a:cubicBezTo>
                      <a:pt x="160" y="55"/>
                      <a:pt x="160" y="55"/>
                      <a:pt x="160" y="55"/>
                    </a:cubicBezTo>
                    <a:cubicBezTo>
                      <a:pt x="150" y="55"/>
                      <a:pt x="150" y="55"/>
                      <a:pt x="150" y="55"/>
                    </a:cubicBezTo>
                    <a:cubicBezTo>
                      <a:pt x="150" y="146"/>
                      <a:pt x="150" y="146"/>
                      <a:pt x="150" y="146"/>
                    </a:cubicBezTo>
                    <a:cubicBezTo>
                      <a:pt x="150" y="159"/>
                      <a:pt x="143" y="160"/>
                      <a:pt x="121" y="160"/>
                    </a:cubicBezTo>
                    <a:cubicBezTo>
                      <a:pt x="120" y="157"/>
                      <a:pt x="119" y="152"/>
                      <a:pt x="117" y="149"/>
                    </a:cubicBezTo>
                    <a:cubicBezTo>
                      <a:pt x="122" y="149"/>
                      <a:pt x="126" y="149"/>
                      <a:pt x="129" y="149"/>
                    </a:cubicBezTo>
                    <a:cubicBezTo>
                      <a:pt x="139" y="149"/>
                      <a:pt x="140" y="149"/>
                      <a:pt x="140" y="146"/>
                    </a:cubicBezTo>
                    <a:cubicBezTo>
                      <a:pt x="140" y="55"/>
                      <a:pt x="140" y="55"/>
                      <a:pt x="140" y="55"/>
                    </a:cubicBezTo>
                    <a:cubicBezTo>
                      <a:pt x="108" y="55"/>
                      <a:pt x="108" y="55"/>
                      <a:pt x="108" y="55"/>
                    </a:cubicBezTo>
                    <a:cubicBezTo>
                      <a:pt x="108" y="44"/>
                      <a:pt x="108" y="44"/>
                      <a:pt x="108" y="44"/>
                    </a:cubicBezTo>
                    <a:cubicBezTo>
                      <a:pt x="140" y="44"/>
                      <a:pt x="140" y="44"/>
                      <a:pt x="140" y="44"/>
                    </a:cubicBezTo>
                    <a:cubicBezTo>
                      <a:pt x="140" y="1"/>
                      <a:pt x="140" y="1"/>
                      <a:pt x="140" y="1"/>
                    </a:cubicBezTo>
                    <a:cubicBezTo>
                      <a:pt x="154" y="2"/>
                      <a:pt x="154" y="2"/>
                      <a:pt x="154" y="2"/>
                    </a:cubicBezTo>
                    <a:cubicBezTo>
                      <a:pt x="153" y="4"/>
                      <a:pt x="152" y="4"/>
                      <a:pt x="150" y="5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160" y="44"/>
                      <a:pt x="160" y="44"/>
                      <a:pt x="160" y="44"/>
                    </a:cubicBezTo>
                    <a:close/>
                    <a:moveTo>
                      <a:pt x="121" y="70"/>
                    </a:moveTo>
                    <a:cubicBezTo>
                      <a:pt x="126" y="84"/>
                      <a:pt x="131" y="101"/>
                      <a:pt x="132" y="112"/>
                    </a:cubicBezTo>
                    <a:cubicBezTo>
                      <a:pt x="131" y="113"/>
                      <a:pt x="129" y="113"/>
                      <a:pt x="122" y="115"/>
                    </a:cubicBezTo>
                    <a:cubicBezTo>
                      <a:pt x="121" y="103"/>
                      <a:pt x="117" y="86"/>
                      <a:pt x="112" y="72"/>
                    </a:cubicBezTo>
                    <a:lnTo>
                      <a:pt x="121" y="7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6" name="Gruppieren 171"/>
            <p:cNvGrpSpPr/>
            <p:nvPr/>
          </p:nvGrpSpPr>
          <p:grpSpPr>
            <a:xfrm>
              <a:off x="863602" y="2080431"/>
              <a:ext cx="1096963" cy="175022"/>
              <a:chOff x="863601" y="2192338"/>
              <a:chExt cx="1096963" cy="233363"/>
            </a:xfrm>
            <a:solidFill>
              <a:schemeClr val="accent5"/>
            </a:solidFill>
          </p:grpSpPr>
          <p:sp>
            <p:nvSpPr>
              <p:cNvPr id="161" name="Freeform 86"/>
              <p:cNvSpPr>
                <a:spLocks/>
              </p:cNvSpPr>
              <p:nvPr/>
            </p:nvSpPr>
            <p:spPr bwMode="auto">
              <a:xfrm>
                <a:off x="863601" y="2266950"/>
                <a:ext cx="119063" cy="158750"/>
              </a:xfrm>
              <a:custGeom>
                <a:avLst/>
                <a:gdLst/>
                <a:ahLst/>
                <a:cxnLst>
                  <a:cxn ang="0">
                    <a:pos x="42" y="53"/>
                  </a:cxn>
                  <a:cxn ang="0">
                    <a:pos x="27" y="56"/>
                  </a:cxn>
                  <a:cxn ang="0">
                    <a:pos x="0" y="28"/>
                  </a:cxn>
                  <a:cxn ang="0">
                    <a:pos x="29" y="0"/>
                  </a:cxn>
                  <a:cxn ang="0">
                    <a:pos x="42" y="3"/>
                  </a:cxn>
                  <a:cxn ang="0">
                    <a:pos x="40" y="10"/>
                  </a:cxn>
                  <a:cxn ang="0">
                    <a:pos x="29" y="7"/>
                  </a:cxn>
                  <a:cxn ang="0">
                    <a:pos x="10" y="28"/>
                  </a:cxn>
                  <a:cxn ang="0">
                    <a:pos x="28" y="48"/>
                  </a:cxn>
                  <a:cxn ang="0">
                    <a:pos x="41" y="46"/>
                  </a:cxn>
                  <a:cxn ang="0">
                    <a:pos x="42" y="53"/>
                  </a:cxn>
                </a:cxnLst>
                <a:rect l="0" t="0" r="r" b="b"/>
                <a:pathLst>
                  <a:path w="42" h="56">
                    <a:moveTo>
                      <a:pt x="42" y="53"/>
                    </a:moveTo>
                    <a:cubicBezTo>
                      <a:pt x="40" y="54"/>
                      <a:pt x="34" y="56"/>
                      <a:pt x="27" y="56"/>
                    </a:cubicBezTo>
                    <a:cubicBezTo>
                      <a:pt x="10" y="56"/>
                      <a:pt x="0" y="45"/>
                      <a:pt x="0" y="28"/>
                    </a:cubicBezTo>
                    <a:cubicBezTo>
                      <a:pt x="0" y="12"/>
                      <a:pt x="11" y="0"/>
                      <a:pt x="29" y="0"/>
                    </a:cubicBezTo>
                    <a:cubicBezTo>
                      <a:pt x="35" y="0"/>
                      <a:pt x="40" y="1"/>
                      <a:pt x="42" y="3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38" y="9"/>
                      <a:pt x="34" y="7"/>
                      <a:pt x="29" y="7"/>
                    </a:cubicBezTo>
                    <a:cubicBezTo>
                      <a:pt x="16" y="7"/>
                      <a:pt x="10" y="17"/>
                      <a:pt x="10" y="28"/>
                    </a:cubicBezTo>
                    <a:cubicBezTo>
                      <a:pt x="10" y="40"/>
                      <a:pt x="18" y="48"/>
                      <a:pt x="28" y="48"/>
                    </a:cubicBezTo>
                    <a:cubicBezTo>
                      <a:pt x="34" y="48"/>
                      <a:pt x="38" y="47"/>
                      <a:pt x="41" y="46"/>
                    </a:cubicBezTo>
                    <a:lnTo>
                      <a:pt x="42" y="5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87"/>
              <p:cNvSpPr>
                <a:spLocks/>
              </p:cNvSpPr>
              <p:nvPr/>
            </p:nvSpPr>
            <p:spPr bwMode="auto">
              <a:xfrm>
                <a:off x="1012826" y="2268538"/>
                <a:ext cx="128588" cy="153988"/>
              </a:xfrm>
              <a:custGeom>
                <a:avLst/>
                <a:gdLst/>
                <a:ahLst/>
                <a:cxnLst>
                  <a:cxn ang="0">
                    <a:pos x="81" y="0"/>
                  </a:cxn>
                  <a:cxn ang="0">
                    <a:pos x="81" y="97"/>
                  </a:cxn>
                  <a:cxn ang="0">
                    <a:pos x="63" y="97"/>
                  </a:cxn>
                  <a:cxn ang="0">
                    <a:pos x="63" y="15"/>
                  </a:cxn>
                  <a:cxn ang="0">
                    <a:pos x="18" y="15"/>
                  </a:cxn>
                  <a:cxn ang="0">
                    <a:pos x="18" y="97"/>
                  </a:cxn>
                  <a:cxn ang="0">
                    <a:pos x="0" y="97"/>
                  </a:cxn>
                  <a:cxn ang="0">
                    <a:pos x="0" y="0"/>
                  </a:cxn>
                  <a:cxn ang="0">
                    <a:pos x="81" y="0"/>
                  </a:cxn>
                </a:cxnLst>
                <a:rect l="0" t="0" r="r" b="b"/>
                <a:pathLst>
                  <a:path w="81" h="97">
                    <a:moveTo>
                      <a:pt x="81" y="0"/>
                    </a:moveTo>
                    <a:lnTo>
                      <a:pt x="81" y="97"/>
                    </a:lnTo>
                    <a:lnTo>
                      <a:pt x="63" y="97"/>
                    </a:lnTo>
                    <a:lnTo>
                      <a:pt x="63" y="15"/>
                    </a:lnTo>
                    <a:lnTo>
                      <a:pt x="18" y="15"/>
                    </a:lnTo>
                    <a:lnTo>
                      <a:pt x="18" y="97"/>
                    </a:lnTo>
                    <a:lnTo>
                      <a:pt x="0" y="97"/>
                    </a:lnTo>
                    <a:lnTo>
                      <a:pt x="0" y="0"/>
                    </a:lnTo>
                    <a:lnTo>
                      <a:pt x="8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88"/>
              <p:cNvSpPr>
                <a:spLocks noEditPoints="1"/>
              </p:cNvSpPr>
              <p:nvPr/>
            </p:nvSpPr>
            <p:spPr bwMode="auto">
              <a:xfrm>
                <a:off x="1174751" y="2266950"/>
                <a:ext cx="122238" cy="158750"/>
              </a:xfrm>
              <a:custGeom>
                <a:avLst/>
                <a:gdLst/>
                <a:ahLst/>
                <a:cxnLst>
                  <a:cxn ang="0">
                    <a:pos x="42" y="42"/>
                  </a:cxn>
                  <a:cxn ang="0">
                    <a:pos x="43" y="55"/>
                  </a:cxn>
                  <a:cxn ang="0">
                    <a:pos x="34" y="55"/>
                  </a:cxn>
                  <a:cxn ang="0">
                    <a:pos x="33" y="48"/>
                  </a:cxn>
                  <a:cxn ang="0">
                    <a:pos x="33" y="48"/>
                  </a:cxn>
                  <a:cxn ang="0">
                    <a:pos x="16" y="56"/>
                  </a:cxn>
                  <a:cxn ang="0">
                    <a:pos x="0" y="41"/>
                  </a:cxn>
                  <a:cxn ang="0">
                    <a:pos x="32" y="20"/>
                  </a:cxn>
                  <a:cxn ang="0">
                    <a:pos x="32" y="19"/>
                  </a:cxn>
                  <a:cxn ang="0">
                    <a:pos x="20" y="7"/>
                  </a:cxn>
                  <a:cxn ang="0">
                    <a:pos x="6" y="11"/>
                  </a:cxn>
                  <a:cxn ang="0">
                    <a:pos x="4" y="4"/>
                  </a:cxn>
                  <a:cxn ang="0">
                    <a:pos x="21" y="0"/>
                  </a:cxn>
                  <a:cxn ang="0">
                    <a:pos x="42" y="22"/>
                  </a:cxn>
                  <a:cxn ang="0">
                    <a:pos x="42" y="42"/>
                  </a:cxn>
                  <a:cxn ang="0">
                    <a:pos x="33" y="27"/>
                  </a:cxn>
                  <a:cxn ang="0">
                    <a:pos x="10" y="39"/>
                  </a:cxn>
                  <a:cxn ang="0">
                    <a:pos x="19" y="49"/>
                  </a:cxn>
                  <a:cxn ang="0">
                    <a:pos x="32" y="40"/>
                  </a:cxn>
                  <a:cxn ang="0">
                    <a:pos x="33" y="37"/>
                  </a:cxn>
                  <a:cxn ang="0">
                    <a:pos x="33" y="27"/>
                  </a:cxn>
                </a:cxnLst>
                <a:rect l="0" t="0" r="r" b="b"/>
                <a:pathLst>
                  <a:path w="43" h="56">
                    <a:moveTo>
                      <a:pt x="42" y="42"/>
                    </a:moveTo>
                    <a:cubicBezTo>
                      <a:pt x="42" y="47"/>
                      <a:pt x="42" y="51"/>
                      <a:pt x="43" y="55"/>
                    </a:cubicBezTo>
                    <a:cubicBezTo>
                      <a:pt x="34" y="55"/>
                      <a:pt x="34" y="55"/>
                      <a:pt x="34" y="55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0" y="52"/>
                      <a:pt x="24" y="56"/>
                      <a:pt x="16" y="56"/>
                    </a:cubicBezTo>
                    <a:cubicBezTo>
                      <a:pt x="5" y="56"/>
                      <a:pt x="0" y="48"/>
                      <a:pt x="0" y="41"/>
                    </a:cubicBezTo>
                    <a:cubicBezTo>
                      <a:pt x="0" y="27"/>
                      <a:pt x="11" y="20"/>
                      <a:pt x="32" y="20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2" y="15"/>
                      <a:pt x="31" y="7"/>
                      <a:pt x="20" y="7"/>
                    </a:cubicBezTo>
                    <a:cubicBezTo>
                      <a:pt x="15" y="7"/>
                      <a:pt x="10" y="8"/>
                      <a:pt x="6" y="11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8" y="2"/>
                      <a:pt x="15" y="0"/>
                      <a:pt x="21" y="0"/>
                    </a:cubicBezTo>
                    <a:cubicBezTo>
                      <a:pt x="38" y="0"/>
                      <a:pt x="42" y="11"/>
                      <a:pt x="42" y="22"/>
                    </a:cubicBezTo>
                    <a:lnTo>
                      <a:pt x="42" y="42"/>
                    </a:lnTo>
                    <a:close/>
                    <a:moveTo>
                      <a:pt x="33" y="27"/>
                    </a:moveTo>
                    <a:cubicBezTo>
                      <a:pt x="22" y="27"/>
                      <a:pt x="10" y="29"/>
                      <a:pt x="10" y="39"/>
                    </a:cubicBezTo>
                    <a:cubicBezTo>
                      <a:pt x="10" y="46"/>
                      <a:pt x="14" y="49"/>
                      <a:pt x="19" y="49"/>
                    </a:cubicBezTo>
                    <a:cubicBezTo>
                      <a:pt x="26" y="49"/>
                      <a:pt x="31" y="44"/>
                      <a:pt x="32" y="40"/>
                    </a:cubicBezTo>
                    <a:cubicBezTo>
                      <a:pt x="32" y="39"/>
                      <a:pt x="33" y="38"/>
                      <a:pt x="33" y="37"/>
                    </a:cubicBezTo>
                    <a:lnTo>
                      <a:pt x="33" y="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89"/>
              <p:cNvSpPr>
                <a:spLocks/>
              </p:cNvSpPr>
              <p:nvPr/>
            </p:nvSpPr>
            <p:spPr bwMode="auto">
              <a:xfrm>
                <a:off x="1328738" y="2266950"/>
                <a:ext cx="122238" cy="158750"/>
              </a:xfrm>
              <a:custGeom>
                <a:avLst/>
                <a:gdLst/>
                <a:ahLst/>
                <a:cxnLst>
                  <a:cxn ang="0">
                    <a:pos x="42" y="53"/>
                  </a:cxn>
                  <a:cxn ang="0">
                    <a:pos x="27" y="56"/>
                  </a:cxn>
                  <a:cxn ang="0">
                    <a:pos x="0" y="28"/>
                  </a:cxn>
                  <a:cxn ang="0">
                    <a:pos x="29" y="0"/>
                  </a:cxn>
                  <a:cxn ang="0">
                    <a:pos x="43" y="3"/>
                  </a:cxn>
                  <a:cxn ang="0">
                    <a:pos x="40" y="10"/>
                  </a:cxn>
                  <a:cxn ang="0">
                    <a:pos x="29" y="7"/>
                  </a:cxn>
                  <a:cxn ang="0">
                    <a:pos x="10" y="28"/>
                  </a:cxn>
                  <a:cxn ang="0">
                    <a:pos x="29" y="48"/>
                  </a:cxn>
                  <a:cxn ang="0">
                    <a:pos x="41" y="46"/>
                  </a:cxn>
                  <a:cxn ang="0">
                    <a:pos x="42" y="53"/>
                  </a:cxn>
                </a:cxnLst>
                <a:rect l="0" t="0" r="r" b="b"/>
                <a:pathLst>
                  <a:path w="43" h="56">
                    <a:moveTo>
                      <a:pt x="42" y="53"/>
                    </a:moveTo>
                    <a:cubicBezTo>
                      <a:pt x="40" y="54"/>
                      <a:pt x="34" y="56"/>
                      <a:pt x="27" y="56"/>
                    </a:cubicBezTo>
                    <a:cubicBezTo>
                      <a:pt x="11" y="56"/>
                      <a:pt x="0" y="45"/>
                      <a:pt x="0" y="28"/>
                    </a:cubicBezTo>
                    <a:cubicBezTo>
                      <a:pt x="0" y="12"/>
                      <a:pt x="11" y="0"/>
                      <a:pt x="29" y="0"/>
                    </a:cubicBezTo>
                    <a:cubicBezTo>
                      <a:pt x="35" y="0"/>
                      <a:pt x="40" y="1"/>
                      <a:pt x="43" y="3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38" y="9"/>
                      <a:pt x="34" y="7"/>
                      <a:pt x="29" y="7"/>
                    </a:cubicBezTo>
                    <a:cubicBezTo>
                      <a:pt x="17" y="7"/>
                      <a:pt x="10" y="17"/>
                      <a:pt x="10" y="28"/>
                    </a:cubicBezTo>
                    <a:cubicBezTo>
                      <a:pt x="10" y="40"/>
                      <a:pt x="18" y="48"/>
                      <a:pt x="29" y="48"/>
                    </a:cubicBezTo>
                    <a:cubicBezTo>
                      <a:pt x="34" y="48"/>
                      <a:pt x="38" y="47"/>
                      <a:pt x="41" y="46"/>
                    </a:cubicBezTo>
                    <a:lnTo>
                      <a:pt x="42" y="5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90"/>
              <p:cNvSpPr>
                <a:spLocks/>
              </p:cNvSpPr>
              <p:nvPr/>
            </p:nvSpPr>
            <p:spPr bwMode="auto">
              <a:xfrm>
                <a:off x="1481138" y="2268538"/>
                <a:ext cx="130175" cy="15398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23"/>
                  </a:cxn>
                  <a:cxn ang="0">
                    <a:pos x="8" y="44"/>
                  </a:cxn>
                  <a:cxn ang="0">
                    <a:pos x="9" y="44"/>
                  </a:cxn>
                  <a:cxn ang="0">
                    <a:pos x="17" y="28"/>
                  </a:cxn>
                  <a:cxn ang="0">
                    <a:pos x="34" y="0"/>
                  </a:cxn>
                  <a:cxn ang="0">
                    <a:pos x="46" y="0"/>
                  </a:cxn>
                  <a:cxn ang="0">
                    <a:pos x="46" y="54"/>
                  </a:cxn>
                  <a:cxn ang="0">
                    <a:pos x="36" y="54"/>
                  </a:cxn>
                  <a:cxn ang="0">
                    <a:pos x="36" y="31"/>
                  </a:cxn>
                  <a:cxn ang="0">
                    <a:pos x="37" y="9"/>
                  </a:cxn>
                  <a:cxn ang="0">
                    <a:pos x="37" y="9"/>
                  </a:cxn>
                  <a:cxn ang="0">
                    <a:pos x="28" y="26"/>
                  </a:cxn>
                  <a:cxn ang="0">
                    <a:pos x="11" y="54"/>
                  </a:cxn>
                  <a:cxn ang="0">
                    <a:pos x="0" y="54"/>
                  </a:cxn>
                  <a:cxn ang="0">
                    <a:pos x="0" y="0"/>
                  </a:cxn>
                  <a:cxn ang="0">
                    <a:pos x="9" y="0"/>
                  </a:cxn>
                </a:cxnLst>
                <a:rect l="0" t="0" r="r" b="b"/>
                <a:pathLst>
                  <a:path w="46" h="54">
                    <a:moveTo>
                      <a:pt x="9" y="0"/>
                    </a:moveTo>
                    <a:cubicBezTo>
                      <a:pt x="9" y="23"/>
                      <a:pt x="9" y="23"/>
                      <a:pt x="9" y="23"/>
                    </a:cubicBezTo>
                    <a:cubicBezTo>
                      <a:pt x="9" y="31"/>
                      <a:pt x="9" y="37"/>
                      <a:pt x="8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12" y="38"/>
                      <a:pt x="14" y="34"/>
                      <a:pt x="17" y="28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54"/>
                      <a:pt x="46" y="54"/>
                      <a:pt x="46" y="54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6" y="31"/>
                      <a:pt x="36" y="31"/>
                      <a:pt x="36" y="31"/>
                    </a:cubicBezTo>
                    <a:cubicBezTo>
                      <a:pt x="36" y="22"/>
                      <a:pt x="37" y="18"/>
                      <a:pt x="37" y="9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3" y="16"/>
                      <a:pt x="31" y="20"/>
                      <a:pt x="28" y="26"/>
                    </a:cubicBezTo>
                    <a:cubicBezTo>
                      <a:pt x="23" y="34"/>
                      <a:pt x="17" y="44"/>
                      <a:pt x="11" y="54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91"/>
              <p:cNvSpPr>
                <a:spLocks noEditPoints="1"/>
              </p:cNvSpPr>
              <p:nvPr/>
            </p:nvSpPr>
            <p:spPr bwMode="auto">
              <a:xfrm>
                <a:off x="1646238" y="2192338"/>
                <a:ext cx="141288" cy="233363"/>
              </a:xfrm>
              <a:custGeom>
                <a:avLst/>
                <a:gdLst/>
                <a:ahLst/>
                <a:cxnLst>
                  <a:cxn ang="0">
                    <a:pos x="45" y="9"/>
                  </a:cxn>
                  <a:cxn ang="0">
                    <a:pos x="33" y="11"/>
                  </a:cxn>
                  <a:cxn ang="0">
                    <a:pos x="14" y="21"/>
                  </a:cxn>
                  <a:cxn ang="0">
                    <a:pos x="8" y="39"/>
                  </a:cxn>
                  <a:cxn ang="0">
                    <a:pos x="8" y="39"/>
                  </a:cxn>
                  <a:cxn ang="0">
                    <a:pos x="27" y="27"/>
                  </a:cxn>
                  <a:cxn ang="0">
                    <a:pos x="50" y="53"/>
                  </a:cxn>
                  <a:cxn ang="0">
                    <a:pos x="25" y="82"/>
                  </a:cxn>
                  <a:cxn ang="0">
                    <a:pos x="0" y="46"/>
                  </a:cxn>
                  <a:cxn ang="0">
                    <a:pos x="8" y="16"/>
                  </a:cxn>
                  <a:cxn ang="0">
                    <a:pos x="32" y="3"/>
                  </a:cxn>
                  <a:cxn ang="0">
                    <a:pos x="45" y="0"/>
                  </a:cxn>
                  <a:cxn ang="0">
                    <a:pos x="45" y="9"/>
                  </a:cxn>
                  <a:cxn ang="0">
                    <a:pos x="25" y="34"/>
                  </a:cxn>
                  <a:cxn ang="0">
                    <a:pos x="13" y="41"/>
                  </a:cxn>
                  <a:cxn ang="0">
                    <a:pos x="10" y="53"/>
                  </a:cxn>
                  <a:cxn ang="0">
                    <a:pos x="25" y="75"/>
                  </a:cxn>
                  <a:cxn ang="0">
                    <a:pos x="40" y="54"/>
                  </a:cxn>
                  <a:cxn ang="0">
                    <a:pos x="25" y="34"/>
                  </a:cxn>
                </a:cxnLst>
                <a:rect l="0" t="0" r="r" b="b"/>
                <a:pathLst>
                  <a:path w="50" h="82">
                    <a:moveTo>
                      <a:pt x="45" y="9"/>
                    </a:moveTo>
                    <a:cubicBezTo>
                      <a:pt x="42" y="10"/>
                      <a:pt x="37" y="10"/>
                      <a:pt x="33" y="11"/>
                    </a:cubicBezTo>
                    <a:cubicBezTo>
                      <a:pt x="25" y="12"/>
                      <a:pt x="18" y="15"/>
                      <a:pt x="14" y="21"/>
                    </a:cubicBezTo>
                    <a:cubicBezTo>
                      <a:pt x="10" y="26"/>
                      <a:pt x="9" y="33"/>
                      <a:pt x="8" y="39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12" y="31"/>
                      <a:pt x="20" y="27"/>
                      <a:pt x="27" y="27"/>
                    </a:cubicBezTo>
                    <a:cubicBezTo>
                      <a:pt x="41" y="27"/>
                      <a:pt x="50" y="36"/>
                      <a:pt x="50" y="53"/>
                    </a:cubicBezTo>
                    <a:cubicBezTo>
                      <a:pt x="50" y="71"/>
                      <a:pt x="41" y="82"/>
                      <a:pt x="25" y="82"/>
                    </a:cubicBezTo>
                    <a:cubicBezTo>
                      <a:pt x="6" y="82"/>
                      <a:pt x="0" y="64"/>
                      <a:pt x="0" y="46"/>
                    </a:cubicBezTo>
                    <a:cubicBezTo>
                      <a:pt x="0" y="34"/>
                      <a:pt x="3" y="23"/>
                      <a:pt x="8" y="16"/>
                    </a:cubicBezTo>
                    <a:cubicBezTo>
                      <a:pt x="14" y="8"/>
                      <a:pt x="21" y="5"/>
                      <a:pt x="32" y="3"/>
                    </a:cubicBezTo>
                    <a:cubicBezTo>
                      <a:pt x="36" y="2"/>
                      <a:pt x="41" y="2"/>
                      <a:pt x="45" y="0"/>
                    </a:cubicBezTo>
                    <a:lnTo>
                      <a:pt x="45" y="9"/>
                    </a:lnTo>
                    <a:close/>
                    <a:moveTo>
                      <a:pt x="25" y="34"/>
                    </a:moveTo>
                    <a:cubicBezTo>
                      <a:pt x="19" y="34"/>
                      <a:pt x="15" y="37"/>
                      <a:pt x="13" y="41"/>
                    </a:cubicBezTo>
                    <a:cubicBezTo>
                      <a:pt x="11" y="45"/>
                      <a:pt x="10" y="49"/>
                      <a:pt x="10" y="53"/>
                    </a:cubicBezTo>
                    <a:cubicBezTo>
                      <a:pt x="10" y="62"/>
                      <a:pt x="15" y="75"/>
                      <a:pt x="25" y="75"/>
                    </a:cubicBezTo>
                    <a:cubicBezTo>
                      <a:pt x="36" y="75"/>
                      <a:pt x="40" y="64"/>
                      <a:pt x="40" y="54"/>
                    </a:cubicBezTo>
                    <a:cubicBezTo>
                      <a:pt x="40" y="45"/>
                      <a:pt x="37" y="34"/>
                      <a:pt x="25" y="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92"/>
              <p:cNvSpPr>
                <a:spLocks noEditPoints="1"/>
              </p:cNvSpPr>
              <p:nvPr/>
            </p:nvSpPr>
            <p:spPr bwMode="auto">
              <a:xfrm>
                <a:off x="1812926" y="2266950"/>
                <a:ext cx="147638" cy="158750"/>
              </a:xfrm>
              <a:custGeom>
                <a:avLst/>
                <a:gdLst/>
                <a:ahLst/>
                <a:cxnLst>
                  <a:cxn ang="0">
                    <a:pos x="52" y="27"/>
                  </a:cxn>
                  <a:cxn ang="0">
                    <a:pos x="26" y="56"/>
                  </a:cxn>
                  <a:cxn ang="0">
                    <a:pos x="0" y="28"/>
                  </a:cxn>
                  <a:cxn ang="0">
                    <a:pos x="26" y="0"/>
                  </a:cxn>
                  <a:cxn ang="0">
                    <a:pos x="52" y="27"/>
                  </a:cxn>
                  <a:cxn ang="0">
                    <a:pos x="10" y="28"/>
                  </a:cxn>
                  <a:cxn ang="0">
                    <a:pos x="26" y="49"/>
                  </a:cxn>
                  <a:cxn ang="0">
                    <a:pos x="42" y="28"/>
                  </a:cxn>
                  <a:cxn ang="0">
                    <a:pos x="26" y="7"/>
                  </a:cxn>
                  <a:cxn ang="0">
                    <a:pos x="10" y="28"/>
                  </a:cxn>
                </a:cxnLst>
                <a:rect l="0" t="0" r="r" b="b"/>
                <a:pathLst>
                  <a:path w="52" h="56">
                    <a:moveTo>
                      <a:pt x="52" y="27"/>
                    </a:moveTo>
                    <a:cubicBezTo>
                      <a:pt x="52" y="47"/>
                      <a:pt x="39" y="56"/>
                      <a:pt x="26" y="56"/>
                    </a:cubicBezTo>
                    <a:cubicBezTo>
                      <a:pt x="11" y="56"/>
                      <a:pt x="0" y="45"/>
                      <a:pt x="0" y="28"/>
                    </a:cubicBezTo>
                    <a:cubicBezTo>
                      <a:pt x="0" y="10"/>
                      <a:pt x="12" y="0"/>
                      <a:pt x="26" y="0"/>
                    </a:cubicBezTo>
                    <a:cubicBezTo>
                      <a:pt x="42" y="0"/>
                      <a:pt x="52" y="11"/>
                      <a:pt x="52" y="27"/>
                    </a:cubicBezTo>
                    <a:close/>
                    <a:moveTo>
                      <a:pt x="10" y="28"/>
                    </a:moveTo>
                    <a:cubicBezTo>
                      <a:pt x="10" y="40"/>
                      <a:pt x="16" y="49"/>
                      <a:pt x="26" y="49"/>
                    </a:cubicBezTo>
                    <a:cubicBezTo>
                      <a:pt x="35" y="49"/>
                      <a:pt x="42" y="40"/>
                      <a:pt x="42" y="28"/>
                    </a:cubicBezTo>
                    <a:cubicBezTo>
                      <a:pt x="42" y="19"/>
                      <a:pt x="38" y="7"/>
                      <a:pt x="26" y="7"/>
                    </a:cubicBezTo>
                    <a:cubicBezTo>
                      <a:pt x="15" y="7"/>
                      <a:pt x="10" y="18"/>
                      <a:pt x="10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7" name="Gruppieren 165"/>
            <p:cNvGrpSpPr/>
            <p:nvPr/>
          </p:nvGrpSpPr>
          <p:grpSpPr>
            <a:xfrm>
              <a:off x="3651251" y="3991384"/>
              <a:ext cx="1219200" cy="173831"/>
              <a:chOff x="3651251" y="4740275"/>
              <a:chExt cx="1219200" cy="231775"/>
            </a:xfrm>
            <a:solidFill>
              <a:schemeClr val="accent5"/>
            </a:solidFill>
          </p:grpSpPr>
          <p:sp>
            <p:nvSpPr>
              <p:cNvPr id="156" name="Freeform 93"/>
              <p:cNvSpPr>
                <a:spLocks noEditPoints="1"/>
              </p:cNvSpPr>
              <p:nvPr/>
            </p:nvSpPr>
            <p:spPr bwMode="auto">
              <a:xfrm>
                <a:off x="3651251" y="4740275"/>
                <a:ext cx="223838" cy="231775"/>
              </a:xfrm>
              <a:custGeom>
                <a:avLst/>
                <a:gdLst/>
                <a:ahLst/>
                <a:cxnLst>
                  <a:cxn ang="0">
                    <a:pos x="17" y="15"/>
                  </a:cxn>
                  <a:cxn ang="0">
                    <a:pos x="12" y="16"/>
                  </a:cxn>
                  <a:cxn ang="0">
                    <a:pos x="3" y="12"/>
                  </a:cxn>
                  <a:cxn ang="0">
                    <a:pos x="4" y="11"/>
                  </a:cxn>
                  <a:cxn ang="0">
                    <a:pos x="6" y="11"/>
                  </a:cxn>
                  <a:cxn ang="0">
                    <a:pos x="19" y="12"/>
                  </a:cxn>
                  <a:cxn ang="0">
                    <a:pos x="32" y="12"/>
                  </a:cxn>
                  <a:cxn ang="0">
                    <a:pos x="37" y="11"/>
                  </a:cxn>
                  <a:cxn ang="0">
                    <a:pos x="42" y="12"/>
                  </a:cxn>
                  <a:cxn ang="0">
                    <a:pos x="40" y="15"/>
                  </a:cxn>
                  <a:cxn ang="0">
                    <a:pos x="3" y="51"/>
                  </a:cxn>
                  <a:cxn ang="0">
                    <a:pos x="0" y="52"/>
                  </a:cxn>
                  <a:cxn ang="0">
                    <a:pos x="0" y="52"/>
                  </a:cxn>
                  <a:cxn ang="0">
                    <a:pos x="2" y="49"/>
                  </a:cxn>
                  <a:cxn ang="0">
                    <a:pos x="34" y="14"/>
                  </a:cxn>
                  <a:cxn ang="0">
                    <a:pos x="17" y="15"/>
                  </a:cxn>
                  <a:cxn ang="0">
                    <a:pos x="23" y="57"/>
                  </a:cxn>
                  <a:cxn ang="0">
                    <a:pos x="18" y="53"/>
                  </a:cxn>
                  <a:cxn ang="0">
                    <a:pos x="16" y="52"/>
                  </a:cxn>
                  <a:cxn ang="0">
                    <a:pos x="19" y="51"/>
                  </a:cxn>
                  <a:cxn ang="0">
                    <a:pos x="30" y="52"/>
                  </a:cxn>
                  <a:cxn ang="0">
                    <a:pos x="54" y="52"/>
                  </a:cxn>
                  <a:cxn ang="0">
                    <a:pos x="58" y="51"/>
                  </a:cxn>
                  <a:cxn ang="0">
                    <a:pos x="63" y="52"/>
                  </a:cxn>
                  <a:cxn ang="0">
                    <a:pos x="62" y="54"/>
                  </a:cxn>
                  <a:cxn ang="0">
                    <a:pos x="58" y="73"/>
                  </a:cxn>
                  <a:cxn ang="0">
                    <a:pos x="62" y="75"/>
                  </a:cxn>
                  <a:cxn ang="0">
                    <a:pos x="59" y="76"/>
                  </a:cxn>
                  <a:cxn ang="0">
                    <a:pos x="30" y="76"/>
                  </a:cxn>
                  <a:cxn ang="0">
                    <a:pos x="26" y="82"/>
                  </a:cxn>
                  <a:cxn ang="0">
                    <a:pos x="25" y="77"/>
                  </a:cxn>
                  <a:cxn ang="0">
                    <a:pos x="23" y="57"/>
                  </a:cxn>
                  <a:cxn ang="0">
                    <a:pos x="29" y="60"/>
                  </a:cxn>
                  <a:cxn ang="0">
                    <a:pos x="29" y="74"/>
                  </a:cxn>
                  <a:cxn ang="0">
                    <a:pos x="49" y="74"/>
                  </a:cxn>
                  <a:cxn ang="0">
                    <a:pos x="55" y="73"/>
                  </a:cxn>
                  <a:cxn ang="0">
                    <a:pos x="56" y="54"/>
                  </a:cxn>
                  <a:cxn ang="0">
                    <a:pos x="30" y="54"/>
                  </a:cxn>
                  <a:cxn ang="0">
                    <a:pos x="29" y="56"/>
                  </a:cxn>
                  <a:cxn ang="0">
                    <a:pos x="29" y="60"/>
                  </a:cxn>
                  <a:cxn ang="0">
                    <a:pos x="56" y="7"/>
                  </a:cxn>
                  <a:cxn ang="0">
                    <a:pos x="49" y="2"/>
                  </a:cxn>
                  <a:cxn ang="0">
                    <a:pos x="47" y="1"/>
                  </a:cxn>
                  <a:cxn ang="0">
                    <a:pos x="50" y="0"/>
                  </a:cxn>
                  <a:cxn ang="0">
                    <a:pos x="59" y="2"/>
                  </a:cxn>
                  <a:cxn ang="0">
                    <a:pos x="62" y="4"/>
                  </a:cxn>
                  <a:cxn ang="0">
                    <a:pos x="62" y="7"/>
                  </a:cxn>
                  <a:cxn ang="0">
                    <a:pos x="62" y="30"/>
                  </a:cxn>
                  <a:cxn ang="0">
                    <a:pos x="65" y="30"/>
                  </a:cxn>
                  <a:cxn ang="0">
                    <a:pos x="74" y="28"/>
                  </a:cxn>
                  <a:cxn ang="0">
                    <a:pos x="79" y="30"/>
                  </a:cxn>
                  <a:cxn ang="0">
                    <a:pos x="77" y="32"/>
                  </a:cxn>
                  <a:cxn ang="0">
                    <a:pos x="62" y="33"/>
                  </a:cxn>
                  <a:cxn ang="0">
                    <a:pos x="58" y="47"/>
                  </a:cxn>
                  <a:cxn ang="0">
                    <a:pos x="56" y="44"/>
                  </a:cxn>
                  <a:cxn ang="0">
                    <a:pos x="56" y="7"/>
                  </a:cxn>
                </a:cxnLst>
                <a:rect l="0" t="0" r="r" b="b"/>
                <a:pathLst>
                  <a:path w="79" h="82">
                    <a:moveTo>
                      <a:pt x="17" y="15"/>
                    </a:moveTo>
                    <a:cubicBezTo>
                      <a:pt x="14" y="15"/>
                      <a:pt x="14" y="16"/>
                      <a:pt x="12" y="16"/>
                    </a:cubicBezTo>
                    <a:cubicBezTo>
                      <a:pt x="10" y="16"/>
                      <a:pt x="3" y="13"/>
                      <a:pt x="3" y="12"/>
                    </a:cubicBezTo>
                    <a:cubicBezTo>
                      <a:pt x="3" y="11"/>
                      <a:pt x="4" y="11"/>
                      <a:pt x="4" y="11"/>
                    </a:cubicBezTo>
                    <a:cubicBezTo>
                      <a:pt x="5" y="11"/>
                      <a:pt x="6" y="11"/>
                      <a:pt x="6" y="11"/>
                    </a:cubicBezTo>
                    <a:cubicBezTo>
                      <a:pt x="10" y="12"/>
                      <a:pt x="14" y="12"/>
                      <a:pt x="19" y="12"/>
                    </a:cubicBezTo>
                    <a:cubicBezTo>
                      <a:pt x="23" y="12"/>
                      <a:pt x="27" y="12"/>
                      <a:pt x="32" y="12"/>
                    </a:cubicBezTo>
                    <a:cubicBezTo>
                      <a:pt x="34" y="12"/>
                      <a:pt x="34" y="11"/>
                      <a:pt x="37" y="11"/>
                    </a:cubicBezTo>
                    <a:cubicBezTo>
                      <a:pt x="39" y="11"/>
                      <a:pt x="42" y="11"/>
                      <a:pt x="42" y="12"/>
                    </a:cubicBezTo>
                    <a:cubicBezTo>
                      <a:pt x="42" y="13"/>
                      <a:pt x="41" y="14"/>
                      <a:pt x="40" y="15"/>
                    </a:cubicBezTo>
                    <a:cubicBezTo>
                      <a:pt x="32" y="29"/>
                      <a:pt x="20" y="42"/>
                      <a:pt x="3" y="51"/>
                    </a:cubicBezTo>
                    <a:cubicBezTo>
                      <a:pt x="1" y="52"/>
                      <a:pt x="0" y="52"/>
                      <a:pt x="0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1"/>
                      <a:pt x="1" y="51"/>
                      <a:pt x="2" y="49"/>
                    </a:cubicBezTo>
                    <a:cubicBezTo>
                      <a:pt x="15" y="41"/>
                      <a:pt x="30" y="25"/>
                      <a:pt x="34" y="14"/>
                    </a:cubicBezTo>
                    <a:lnTo>
                      <a:pt x="17" y="15"/>
                    </a:lnTo>
                    <a:close/>
                    <a:moveTo>
                      <a:pt x="23" y="57"/>
                    </a:moveTo>
                    <a:cubicBezTo>
                      <a:pt x="23" y="55"/>
                      <a:pt x="22" y="54"/>
                      <a:pt x="18" y="53"/>
                    </a:cubicBezTo>
                    <a:cubicBezTo>
                      <a:pt x="17" y="53"/>
                      <a:pt x="16" y="52"/>
                      <a:pt x="16" y="52"/>
                    </a:cubicBezTo>
                    <a:cubicBezTo>
                      <a:pt x="16" y="51"/>
                      <a:pt x="17" y="51"/>
                      <a:pt x="19" y="51"/>
                    </a:cubicBezTo>
                    <a:cubicBezTo>
                      <a:pt x="23" y="51"/>
                      <a:pt x="28" y="52"/>
                      <a:pt x="30" y="52"/>
                    </a:cubicBezTo>
                    <a:cubicBezTo>
                      <a:pt x="54" y="52"/>
                      <a:pt x="54" y="52"/>
                      <a:pt x="54" y="52"/>
                    </a:cubicBezTo>
                    <a:cubicBezTo>
                      <a:pt x="56" y="51"/>
                      <a:pt x="56" y="51"/>
                      <a:pt x="58" y="51"/>
                    </a:cubicBezTo>
                    <a:cubicBezTo>
                      <a:pt x="60" y="51"/>
                      <a:pt x="63" y="51"/>
                      <a:pt x="63" y="52"/>
                    </a:cubicBezTo>
                    <a:cubicBezTo>
                      <a:pt x="63" y="53"/>
                      <a:pt x="62" y="54"/>
                      <a:pt x="62" y="54"/>
                    </a:cubicBezTo>
                    <a:cubicBezTo>
                      <a:pt x="60" y="61"/>
                      <a:pt x="58" y="70"/>
                      <a:pt x="58" y="73"/>
                    </a:cubicBezTo>
                    <a:cubicBezTo>
                      <a:pt x="61" y="73"/>
                      <a:pt x="62" y="74"/>
                      <a:pt x="62" y="75"/>
                    </a:cubicBezTo>
                    <a:cubicBezTo>
                      <a:pt x="62" y="76"/>
                      <a:pt x="61" y="76"/>
                      <a:pt x="59" y="76"/>
                    </a:cubicBezTo>
                    <a:cubicBezTo>
                      <a:pt x="30" y="76"/>
                      <a:pt x="30" y="76"/>
                      <a:pt x="30" y="76"/>
                    </a:cubicBezTo>
                    <a:cubicBezTo>
                      <a:pt x="29" y="80"/>
                      <a:pt x="28" y="82"/>
                      <a:pt x="26" y="82"/>
                    </a:cubicBezTo>
                    <a:cubicBezTo>
                      <a:pt x="26" y="82"/>
                      <a:pt x="25" y="80"/>
                      <a:pt x="25" y="77"/>
                    </a:cubicBezTo>
                    <a:lnTo>
                      <a:pt x="23" y="57"/>
                    </a:lnTo>
                    <a:close/>
                    <a:moveTo>
                      <a:pt x="29" y="60"/>
                    </a:moveTo>
                    <a:cubicBezTo>
                      <a:pt x="29" y="74"/>
                      <a:pt x="29" y="74"/>
                      <a:pt x="29" y="74"/>
                    </a:cubicBezTo>
                    <a:cubicBezTo>
                      <a:pt x="49" y="74"/>
                      <a:pt x="49" y="74"/>
                      <a:pt x="49" y="74"/>
                    </a:cubicBezTo>
                    <a:cubicBezTo>
                      <a:pt x="52" y="74"/>
                      <a:pt x="52" y="73"/>
                      <a:pt x="55" y="73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0" y="55"/>
                      <a:pt x="29" y="55"/>
                      <a:pt x="29" y="56"/>
                    </a:cubicBezTo>
                    <a:cubicBezTo>
                      <a:pt x="29" y="60"/>
                      <a:pt x="29" y="60"/>
                      <a:pt x="29" y="60"/>
                    </a:cubicBezTo>
                    <a:close/>
                    <a:moveTo>
                      <a:pt x="56" y="7"/>
                    </a:moveTo>
                    <a:cubicBezTo>
                      <a:pt x="56" y="6"/>
                      <a:pt x="54" y="4"/>
                      <a:pt x="49" y="2"/>
                    </a:cubicBezTo>
                    <a:cubicBezTo>
                      <a:pt x="47" y="2"/>
                      <a:pt x="47" y="1"/>
                      <a:pt x="47" y="1"/>
                    </a:cubicBezTo>
                    <a:cubicBezTo>
                      <a:pt x="47" y="0"/>
                      <a:pt x="48" y="0"/>
                      <a:pt x="50" y="0"/>
                    </a:cubicBezTo>
                    <a:cubicBezTo>
                      <a:pt x="54" y="0"/>
                      <a:pt x="57" y="1"/>
                      <a:pt x="59" y="2"/>
                    </a:cubicBezTo>
                    <a:cubicBezTo>
                      <a:pt x="62" y="3"/>
                      <a:pt x="62" y="4"/>
                      <a:pt x="62" y="4"/>
                    </a:cubicBezTo>
                    <a:cubicBezTo>
                      <a:pt x="62" y="5"/>
                      <a:pt x="62" y="6"/>
                      <a:pt x="62" y="7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3" y="30"/>
                      <a:pt x="64" y="30"/>
                      <a:pt x="65" y="30"/>
                    </a:cubicBezTo>
                    <a:cubicBezTo>
                      <a:pt x="70" y="30"/>
                      <a:pt x="68" y="28"/>
                      <a:pt x="74" y="28"/>
                    </a:cubicBezTo>
                    <a:cubicBezTo>
                      <a:pt x="76" y="28"/>
                      <a:pt x="79" y="28"/>
                      <a:pt x="79" y="30"/>
                    </a:cubicBezTo>
                    <a:cubicBezTo>
                      <a:pt x="79" y="31"/>
                      <a:pt x="78" y="32"/>
                      <a:pt x="77" y="32"/>
                    </a:cubicBezTo>
                    <a:cubicBezTo>
                      <a:pt x="62" y="33"/>
                      <a:pt x="62" y="33"/>
                      <a:pt x="62" y="33"/>
                    </a:cubicBezTo>
                    <a:cubicBezTo>
                      <a:pt x="62" y="46"/>
                      <a:pt x="58" y="47"/>
                      <a:pt x="58" y="47"/>
                    </a:cubicBezTo>
                    <a:cubicBezTo>
                      <a:pt x="57" y="47"/>
                      <a:pt x="56" y="46"/>
                      <a:pt x="56" y="44"/>
                    </a:cubicBezTo>
                    <a:cubicBezTo>
                      <a:pt x="56" y="7"/>
                      <a:pt x="56" y="7"/>
                      <a:pt x="56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94"/>
              <p:cNvSpPr>
                <a:spLocks noEditPoints="1"/>
              </p:cNvSpPr>
              <p:nvPr/>
            </p:nvSpPr>
            <p:spPr bwMode="auto">
              <a:xfrm>
                <a:off x="3889376" y="4740275"/>
                <a:ext cx="238125" cy="231775"/>
              </a:xfrm>
              <a:custGeom>
                <a:avLst/>
                <a:gdLst/>
                <a:ahLst/>
                <a:cxnLst>
                  <a:cxn ang="0">
                    <a:pos x="2" y="55"/>
                  </a:cxn>
                  <a:cxn ang="0">
                    <a:pos x="27" y="18"/>
                  </a:cxn>
                  <a:cxn ang="0">
                    <a:pos x="23" y="13"/>
                  </a:cxn>
                  <a:cxn ang="0">
                    <a:pos x="22" y="11"/>
                  </a:cxn>
                  <a:cxn ang="0">
                    <a:pos x="26" y="11"/>
                  </a:cxn>
                  <a:cxn ang="0">
                    <a:pos x="34" y="17"/>
                  </a:cxn>
                  <a:cxn ang="0">
                    <a:pos x="27" y="30"/>
                  </a:cxn>
                  <a:cxn ang="0">
                    <a:pos x="37" y="40"/>
                  </a:cxn>
                  <a:cxn ang="0">
                    <a:pos x="44" y="48"/>
                  </a:cxn>
                  <a:cxn ang="0">
                    <a:pos x="46" y="52"/>
                  </a:cxn>
                  <a:cxn ang="0">
                    <a:pos x="44" y="55"/>
                  </a:cxn>
                  <a:cxn ang="0">
                    <a:pos x="42" y="54"/>
                  </a:cxn>
                  <a:cxn ang="0">
                    <a:pos x="26" y="33"/>
                  </a:cxn>
                  <a:cxn ang="0">
                    <a:pos x="0" y="58"/>
                  </a:cxn>
                  <a:cxn ang="0">
                    <a:pos x="0" y="57"/>
                  </a:cxn>
                  <a:cxn ang="0">
                    <a:pos x="2" y="55"/>
                  </a:cxn>
                  <a:cxn ang="0">
                    <a:pos x="60" y="7"/>
                  </a:cxn>
                  <a:cxn ang="0">
                    <a:pos x="51" y="2"/>
                  </a:cxn>
                  <a:cxn ang="0">
                    <a:pos x="50" y="1"/>
                  </a:cxn>
                  <a:cxn ang="0">
                    <a:pos x="54" y="0"/>
                  </a:cxn>
                  <a:cxn ang="0">
                    <a:pos x="64" y="2"/>
                  </a:cxn>
                  <a:cxn ang="0">
                    <a:pos x="66" y="4"/>
                  </a:cxn>
                  <a:cxn ang="0">
                    <a:pos x="66" y="7"/>
                  </a:cxn>
                  <a:cxn ang="0">
                    <a:pos x="66" y="39"/>
                  </a:cxn>
                  <a:cxn ang="0">
                    <a:pos x="70" y="39"/>
                  </a:cxn>
                  <a:cxn ang="0">
                    <a:pos x="78" y="37"/>
                  </a:cxn>
                  <a:cxn ang="0">
                    <a:pos x="84" y="40"/>
                  </a:cxn>
                  <a:cxn ang="0">
                    <a:pos x="81" y="42"/>
                  </a:cxn>
                  <a:cxn ang="0">
                    <a:pos x="66" y="42"/>
                  </a:cxn>
                  <a:cxn ang="0">
                    <a:pos x="65" y="67"/>
                  </a:cxn>
                  <a:cxn ang="0">
                    <a:pos x="63" y="80"/>
                  </a:cxn>
                  <a:cxn ang="0">
                    <a:pos x="61" y="82"/>
                  </a:cxn>
                  <a:cxn ang="0">
                    <a:pos x="60" y="78"/>
                  </a:cxn>
                  <a:cxn ang="0">
                    <a:pos x="60" y="7"/>
                  </a:cxn>
                </a:cxnLst>
                <a:rect l="0" t="0" r="r" b="b"/>
                <a:pathLst>
                  <a:path w="84" h="82">
                    <a:moveTo>
                      <a:pt x="2" y="55"/>
                    </a:moveTo>
                    <a:cubicBezTo>
                      <a:pt x="9" y="48"/>
                      <a:pt x="22" y="34"/>
                      <a:pt x="27" y="18"/>
                    </a:cubicBezTo>
                    <a:cubicBezTo>
                      <a:pt x="27" y="17"/>
                      <a:pt x="27" y="16"/>
                      <a:pt x="23" y="13"/>
                    </a:cubicBezTo>
                    <a:cubicBezTo>
                      <a:pt x="20" y="11"/>
                      <a:pt x="21" y="11"/>
                      <a:pt x="22" y="11"/>
                    </a:cubicBezTo>
                    <a:cubicBezTo>
                      <a:pt x="23" y="11"/>
                      <a:pt x="24" y="11"/>
                      <a:pt x="26" y="11"/>
                    </a:cubicBezTo>
                    <a:cubicBezTo>
                      <a:pt x="32" y="14"/>
                      <a:pt x="34" y="16"/>
                      <a:pt x="34" y="17"/>
                    </a:cubicBezTo>
                    <a:cubicBezTo>
                      <a:pt x="34" y="18"/>
                      <a:pt x="33" y="20"/>
                      <a:pt x="27" y="30"/>
                    </a:cubicBezTo>
                    <a:cubicBezTo>
                      <a:pt x="29" y="34"/>
                      <a:pt x="33" y="37"/>
                      <a:pt x="37" y="40"/>
                    </a:cubicBezTo>
                    <a:cubicBezTo>
                      <a:pt x="40" y="43"/>
                      <a:pt x="41" y="42"/>
                      <a:pt x="44" y="48"/>
                    </a:cubicBezTo>
                    <a:cubicBezTo>
                      <a:pt x="45" y="50"/>
                      <a:pt x="46" y="51"/>
                      <a:pt x="46" y="52"/>
                    </a:cubicBezTo>
                    <a:cubicBezTo>
                      <a:pt x="46" y="54"/>
                      <a:pt x="45" y="55"/>
                      <a:pt x="44" y="55"/>
                    </a:cubicBezTo>
                    <a:cubicBezTo>
                      <a:pt x="43" y="55"/>
                      <a:pt x="43" y="55"/>
                      <a:pt x="42" y="54"/>
                    </a:cubicBezTo>
                    <a:cubicBezTo>
                      <a:pt x="39" y="50"/>
                      <a:pt x="33" y="42"/>
                      <a:pt x="26" y="33"/>
                    </a:cubicBezTo>
                    <a:cubicBezTo>
                      <a:pt x="16" y="47"/>
                      <a:pt x="2" y="58"/>
                      <a:pt x="0" y="58"/>
                    </a:cubicBezTo>
                    <a:cubicBezTo>
                      <a:pt x="0" y="58"/>
                      <a:pt x="0" y="57"/>
                      <a:pt x="0" y="57"/>
                    </a:cubicBezTo>
                    <a:cubicBezTo>
                      <a:pt x="0" y="57"/>
                      <a:pt x="1" y="56"/>
                      <a:pt x="2" y="55"/>
                    </a:cubicBezTo>
                    <a:close/>
                    <a:moveTo>
                      <a:pt x="60" y="7"/>
                    </a:moveTo>
                    <a:cubicBezTo>
                      <a:pt x="60" y="6"/>
                      <a:pt x="55" y="4"/>
                      <a:pt x="51" y="2"/>
                    </a:cubicBezTo>
                    <a:cubicBezTo>
                      <a:pt x="50" y="2"/>
                      <a:pt x="50" y="1"/>
                      <a:pt x="50" y="1"/>
                    </a:cubicBezTo>
                    <a:cubicBezTo>
                      <a:pt x="50" y="0"/>
                      <a:pt x="51" y="0"/>
                      <a:pt x="54" y="0"/>
                    </a:cubicBezTo>
                    <a:cubicBezTo>
                      <a:pt x="57" y="1"/>
                      <a:pt x="61" y="1"/>
                      <a:pt x="64" y="2"/>
                    </a:cubicBezTo>
                    <a:cubicBezTo>
                      <a:pt x="65" y="3"/>
                      <a:pt x="66" y="4"/>
                      <a:pt x="66" y="4"/>
                    </a:cubicBezTo>
                    <a:cubicBezTo>
                      <a:pt x="66" y="5"/>
                      <a:pt x="66" y="6"/>
                      <a:pt x="66" y="7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70" y="39"/>
                      <a:pt x="70" y="39"/>
                      <a:pt x="70" y="39"/>
                    </a:cubicBezTo>
                    <a:cubicBezTo>
                      <a:pt x="74" y="39"/>
                      <a:pt x="73" y="37"/>
                      <a:pt x="78" y="37"/>
                    </a:cubicBezTo>
                    <a:cubicBezTo>
                      <a:pt x="80" y="37"/>
                      <a:pt x="84" y="37"/>
                      <a:pt x="84" y="40"/>
                    </a:cubicBezTo>
                    <a:cubicBezTo>
                      <a:pt x="84" y="41"/>
                      <a:pt x="83" y="42"/>
                      <a:pt x="81" y="42"/>
                    </a:cubicBezTo>
                    <a:cubicBezTo>
                      <a:pt x="66" y="42"/>
                      <a:pt x="66" y="42"/>
                      <a:pt x="66" y="42"/>
                    </a:cubicBezTo>
                    <a:cubicBezTo>
                      <a:pt x="65" y="67"/>
                      <a:pt x="65" y="67"/>
                      <a:pt x="65" y="67"/>
                    </a:cubicBezTo>
                    <a:cubicBezTo>
                      <a:pt x="65" y="73"/>
                      <a:pt x="65" y="77"/>
                      <a:pt x="63" y="80"/>
                    </a:cubicBezTo>
                    <a:cubicBezTo>
                      <a:pt x="63" y="81"/>
                      <a:pt x="62" y="82"/>
                      <a:pt x="61" y="82"/>
                    </a:cubicBezTo>
                    <a:cubicBezTo>
                      <a:pt x="60" y="82"/>
                      <a:pt x="60" y="81"/>
                      <a:pt x="60" y="78"/>
                    </a:cubicBezTo>
                    <a:cubicBezTo>
                      <a:pt x="60" y="7"/>
                      <a:pt x="60" y="7"/>
                      <a:pt x="60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95"/>
              <p:cNvSpPr>
                <a:spLocks noEditPoints="1"/>
              </p:cNvSpPr>
              <p:nvPr/>
            </p:nvSpPr>
            <p:spPr bwMode="auto">
              <a:xfrm>
                <a:off x="4152901" y="4740275"/>
                <a:ext cx="217488" cy="231775"/>
              </a:xfrm>
              <a:custGeom>
                <a:avLst/>
                <a:gdLst/>
                <a:ahLst/>
                <a:cxnLst>
                  <a:cxn ang="0">
                    <a:pos x="42" y="14"/>
                  </a:cxn>
                  <a:cxn ang="0">
                    <a:pos x="44" y="18"/>
                  </a:cxn>
                  <a:cxn ang="0">
                    <a:pos x="27" y="21"/>
                  </a:cxn>
                  <a:cxn ang="0">
                    <a:pos x="40" y="35"/>
                  </a:cxn>
                  <a:cxn ang="0">
                    <a:pos x="9" y="35"/>
                  </a:cxn>
                  <a:cxn ang="0">
                    <a:pos x="23" y="22"/>
                  </a:cxn>
                  <a:cxn ang="0">
                    <a:pos x="11" y="20"/>
                  </a:cxn>
                  <a:cxn ang="0">
                    <a:pos x="0" y="17"/>
                  </a:cxn>
                  <a:cxn ang="0">
                    <a:pos x="3" y="16"/>
                  </a:cxn>
                  <a:cxn ang="0">
                    <a:pos x="33" y="16"/>
                  </a:cxn>
                  <a:cxn ang="0">
                    <a:pos x="12" y="5"/>
                  </a:cxn>
                  <a:cxn ang="0">
                    <a:pos x="15" y="5"/>
                  </a:cxn>
                  <a:cxn ang="0">
                    <a:pos x="34" y="8"/>
                  </a:cxn>
                  <a:cxn ang="0">
                    <a:pos x="19" y="10"/>
                  </a:cxn>
                  <a:cxn ang="0">
                    <a:pos x="24" y="44"/>
                  </a:cxn>
                  <a:cxn ang="0">
                    <a:pos x="24" y="26"/>
                  </a:cxn>
                  <a:cxn ang="0">
                    <a:pos x="24" y="58"/>
                  </a:cxn>
                  <a:cxn ang="0">
                    <a:pos x="16" y="53"/>
                  </a:cxn>
                  <a:cxn ang="0">
                    <a:pos x="26" y="53"/>
                  </a:cxn>
                  <a:cxn ang="0">
                    <a:pos x="29" y="57"/>
                  </a:cxn>
                  <a:cxn ang="0">
                    <a:pos x="55" y="61"/>
                  </a:cxn>
                  <a:cxn ang="0">
                    <a:pos x="50" y="52"/>
                  </a:cxn>
                  <a:cxn ang="0">
                    <a:pos x="51" y="50"/>
                  </a:cxn>
                  <a:cxn ang="0">
                    <a:pos x="60" y="54"/>
                  </a:cxn>
                  <a:cxn ang="0">
                    <a:pos x="56" y="81"/>
                  </a:cxn>
                  <a:cxn ang="0">
                    <a:pos x="29" y="77"/>
                  </a:cxn>
                  <a:cxn ang="0">
                    <a:pos x="24" y="78"/>
                  </a:cxn>
                  <a:cxn ang="0">
                    <a:pos x="29" y="64"/>
                  </a:cxn>
                  <a:cxn ang="0">
                    <a:pos x="55" y="74"/>
                  </a:cxn>
                  <a:cxn ang="0">
                    <a:pos x="29" y="64"/>
                  </a:cxn>
                  <a:cxn ang="0">
                    <a:pos x="47" y="2"/>
                  </a:cxn>
                  <a:cxn ang="0">
                    <a:pos x="48" y="0"/>
                  </a:cxn>
                  <a:cxn ang="0">
                    <a:pos x="61" y="4"/>
                  </a:cxn>
                  <a:cxn ang="0">
                    <a:pos x="60" y="30"/>
                  </a:cxn>
                  <a:cxn ang="0">
                    <a:pos x="72" y="28"/>
                  </a:cxn>
                  <a:cxn ang="0">
                    <a:pos x="75" y="32"/>
                  </a:cxn>
                  <a:cxn ang="0">
                    <a:pos x="56" y="45"/>
                  </a:cxn>
                  <a:cxn ang="0">
                    <a:pos x="55" y="7"/>
                  </a:cxn>
                </a:cxnLst>
                <a:rect l="0" t="0" r="r" b="b"/>
                <a:pathLst>
                  <a:path w="77" h="82">
                    <a:moveTo>
                      <a:pt x="33" y="16"/>
                    </a:moveTo>
                    <a:cubicBezTo>
                      <a:pt x="38" y="15"/>
                      <a:pt x="36" y="14"/>
                      <a:pt x="42" y="14"/>
                    </a:cubicBezTo>
                    <a:cubicBezTo>
                      <a:pt x="47" y="14"/>
                      <a:pt x="47" y="16"/>
                      <a:pt x="47" y="16"/>
                    </a:cubicBezTo>
                    <a:cubicBezTo>
                      <a:pt x="47" y="17"/>
                      <a:pt x="46" y="18"/>
                      <a:pt x="44" y="18"/>
                    </a:cubicBezTo>
                    <a:cubicBezTo>
                      <a:pt x="36" y="18"/>
                      <a:pt x="30" y="19"/>
                      <a:pt x="25" y="19"/>
                    </a:cubicBezTo>
                    <a:cubicBezTo>
                      <a:pt x="27" y="20"/>
                      <a:pt x="27" y="21"/>
                      <a:pt x="27" y="21"/>
                    </a:cubicBezTo>
                    <a:cubicBezTo>
                      <a:pt x="27" y="22"/>
                      <a:pt x="26" y="23"/>
                      <a:pt x="26" y="23"/>
                    </a:cubicBezTo>
                    <a:cubicBezTo>
                      <a:pt x="36" y="24"/>
                      <a:pt x="40" y="30"/>
                      <a:pt x="40" y="35"/>
                    </a:cubicBezTo>
                    <a:cubicBezTo>
                      <a:pt x="40" y="41"/>
                      <a:pt x="35" y="47"/>
                      <a:pt x="25" y="47"/>
                    </a:cubicBezTo>
                    <a:cubicBezTo>
                      <a:pt x="15" y="47"/>
                      <a:pt x="9" y="41"/>
                      <a:pt x="9" y="35"/>
                    </a:cubicBezTo>
                    <a:cubicBezTo>
                      <a:pt x="9" y="29"/>
                      <a:pt x="13" y="25"/>
                      <a:pt x="22" y="23"/>
                    </a:cubicBezTo>
                    <a:cubicBezTo>
                      <a:pt x="23" y="23"/>
                      <a:pt x="23" y="22"/>
                      <a:pt x="23" y="22"/>
                    </a:cubicBezTo>
                    <a:cubicBezTo>
                      <a:pt x="23" y="21"/>
                      <a:pt x="23" y="20"/>
                      <a:pt x="22" y="19"/>
                    </a:cubicBezTo>
                    <a:cubicBezTo>
                      <a:pt x="19" y="19"/>
                      <a:pt x="15" y="20"/>
                      <a:pt x="11" y="20"/>
                    </a:cubicBezTo>
                    <a:cubicBezTo>
                      <a:pt x="9" y="20"/>
                      <a:pt x="9" y="21"/>
                      <a:pt x="8" y="21"/>
                    </a:cubicBezTo>
                    <a:cubicBezTo>
                      <a:pt x="7" y="21"/>
                      <a:pt x="0" y="18"/>
                      <a:pt x="0" y="17"/>
                    </a:cubicBezTo>
                    <a:cubicBezTo>
                      <a:pt x="0" y="16"/>
                      <a:pt x="0" y="16"/>
                      <a:pt x="1" y="16"/>
                    </a:cubicBezTo>
                    <a:cubicBezTo>
                      <a:pt x="2" y="16"/>
                      <a:pt x="2" y="16"/>
                      <a:pt x="3" y="16"/>
                    </a:cubicBezTo>
                    <a:cubicBezTo>
                      <a:pt x="7" y="17"/>
                      <a:pt x="11" y="17"/>
                      <a:pt x="15" y="17"/>
                    </a:cubicBezTo>
                    <a:cubicBezTo>
                      <a:pt x="19" y="17"/>
                      <a:pt x="25" y="17"/>
                      <a:pt x="33" y="16"/>
                    </a:cubicBezTo>
                    <a:close/>
                    <a:moveTo>
                      <a:pt x="19" y="10"/>
                    </a:moveTo>
                    <a:cubicBezTo>
                      <a:pt x="18" y="10"/>
                      <a:pt x="12" y="7"/>
                      <a:pt x="12" y="5"/>
                    </a:cubicBezTo>
                    <a:cubicBezTo>
                      <a:pt x="12" y="5"/>
                      <a:pt x="12" y="5"/>
                      <a:pt x="13" y="5"/>
                    </a:cubicBezTo>
                    <a:cubicBezTo>
                      <a:pt x="13" y="5"/>
                      <a:pt x="14" y="5"/>
                      <a:pt x="15" y="5"/>
                    </a:cubicBezTo>
                    <a:cubicBezTo>
                      <a:pt x="18" y="6"/>
                      <a:pt x="19" y="6"/>
                      <a:pt x="30" y="6"/>
                    </a:cubicBezTo>
                    <a:cubicBezTo>
                      <a:pt x="33" y="6"/>
                      <a:pt x="34" y="7"/>
                      <a:pt x="34" y="8"/>
                    </a:cubicBezTo>
                    <a:cubicBezTo>
                      <a:pt x="34" y="9"/>
                      <a:pt x="33" y="10"/>
                      <a:pt x="29" y="10"/>
                    </a:cubicBezTo>
                    <a:lnTo>
                      <a:pt x="19" y="10"/>
                    </a:lnTo>
                    <a:close/>
                    <a:moveTo>
                      <a:pt x="14" y="35"/>
                    </a:moveTo>
                    <a:cubicBezTo>
                      <a:pt x="14" y="39"/>
                      <a:pt x="17" y="44"/>
                      <a:pt x="24" y="44"/>
                    </a:cubicBezTo>
                    <a:cubicBezTo>
                      <a:pt x="32" y="44"/>
                      <a:pt x="35" y="39"/>
                      <a:pt x="35" y="35"/>
                    </a:cubicBezTo>
                    <a:cubicBezTo>
                      <a:pt x="35" y="30"/>
                      <a:pt x="32" y="26"/>
                      <a:pt x="24" y="26"/>
                    </a:cubicBezTo>
                    <a:cubicBezTo>
                      <a:pt x="17" y="26"/>
                      <a:pt x="14" y="30"/>
                      <a:pt x="14" y="35"/>
                    </a:cubicBezTo>
                    <a:close/>
                    <a:moveTo>
                      <a:pt x="24" y="58"/>
                    </a:moveTo>
                    <a:cubicBezTo>
                      <a:pt x="24" y="56"/>
                      <a:pt x="21" y="55"/>
                      <a:pt x="18" y="54"/>
                    </a:cubicBezTo>
                    <a:cubicBezTo>
                      <a:pt x="17" y="54"/>
                      <a:pt x="16" y="54"/>
                      <a:pt x="16" y="53"/>
                    </a:cubicBezTo>
                    <a:cubicBezTo>
                      <a:pt x="16" y="53"/>
                      <a:pt x="19" y="52"/>
                      <a:pt x="20" y="52"/>
                    </a:cubicBezTo>
                    <a:cubicBezTo>
                      <a:pt x="22" y="52"/>
                      <a:pt x="24" y="53"/>
                      <a:pt x="26" y="53"/>
                    </a:cubicBezTo>
                    <a:cubicBezTo>
                      <a:pt x="29" y="53"/>
                      <a:pt x="29" y="54"/>
                      <a:pt x="29" y="55"/>
                    </a:cubicBezTo>
                    <a:cubicBezTo>
                      <a:pt x="29" y="55"/>
                      <a:pt x="29" y="56"/>
                      <a:pt x="29" y="57"/>
                    </a:cubicBezTo>
                    <a:cubicBezTo>
                      <a:pt x="29" y="61"/>
                      <a:pt x="29" y="61"/>
                      <a:pt x="29" y="61"/>
                    </a:cubicBezTo>
                    <a:cubicBezTo>
                      <a:pt x="55" y="61"/>
                      <a:pt x="55" y="61"/>
                      <a:pt x="55" y="61"/>
                    </a:cubicBezTo>
                    <a:cubicBezTo>
                      <a:pt x="55" y="55"/>
                      <a:pt x="55" y="55"/>
                      <a:pt x="55" y="55"/>
                    </a:cubicBezTo>
                    <a:cubicBezTo>
                      <a:pt x="55" y="54"/>
                      <a:pt x="53" y="52"/>
                      <a:pt x="50" y="52"/>
                    </a:cubicBezTo>
                    <a:cubicBezTo>
                      <a:pt x="49" y="51"/>
                      <a:pt x="48" y="51"/>
                      <a:pt x="48" y="50"/>
                    </a:cubicBezTo>
                    <a:cubicBezTo>
                      <a:pt x="48" y="50"/>
                      <a:pt x="51" y="50"/>
                      <a:pt x="51" y="50"/>
                    </a:cubicBezTo>
                    <a:cubicBezTo>
                      <a:pt x="52" y="50"/>
                      <a:pt x="60" y="50"/>
                      <a:pt x="60" y="52"/>
                    </a:cubicBezTo>
                    <a:cubicBezTo>
                      <a:pt x="60" y="53"/>
                      <a:pt x="60" y="53"/>
                      <a:pt x="60" y="54"/>
                    </a:cubicBezTo>
                    <a:cubicBezTo>
                      <a:pt x="60" y="70"/>
                      <a:pt x="60" y="70"/>
                      <a:pt x="60" y="70"/>
                    </a:cubicBezTo>
                    <a:cubicBezTo>
                      <a:pt x="60" y="76"/>
                      <a:pt x="58" y="81"/>
                      <a:pt x="56" y="81"/>
                    </a:cubicBezTo>
                    <a:cubicBezTo>
                      <a:pt x="56" y="81"/>
                      <a:pt x="55" y="80"/>
                      <a:pt x="55" y="76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8" y="80"/>
                      <a:pt x="26" y="82"/>
                      <a:pt x="25" y="82"/>
                    </a:cubicBezTo>
                    <a:cubicBezTo>
                      <a:pt x="24" y="82"/>
                      <a:pt x="24" y="81"/>
                      <a:pt x="24" y="78"/>
                    </a:cubicBezTo>
                    <a:cubicBezTo>
                      <a:pt x="24" y="58"/>
                      <a:pt x="24" y="58"/>
                      <a:pt x="24" y="58"/>
                    </a:cubicBezTo>
                    <a:close/>
                    <a:moveTo>
                      <a:pt x="29" y="64"/>
                    </a:moveTo>
                    <a:cubicBezTo>
                      <a:pt x="29" y="74"/>
                      <a:pt x="29" y="74"/>
                      <a:pt x="29" y="74"/>
                    </a:cubicBezTo>
                    <a:cubicBezTo>
                      <a:pt x="55" y="74"/>
                      <a:pt x="55" y="74"/>
                      <a:pt x="55" y="74"/>
                    </a:cubicBezTo>
                    <a:cubicBezTo>
                      <a:pt x="55" y="63"/>
                      <a:pt x="55" y="63"/>
                      <a:pt x="55" y="63"/>
                    </a:cubicBezTo>
                    <a:lnTo>
                      <a:pt x="29" y="64"/>
                    </a:lnTo>
                    <a:close/>
                    <a:moveTo>
                      <a:pt x="55" y="7"/>
                    </a:moveTo>
                    <a:cubicBezTo>
                      <a:pt x="55" y="6"/>
                      <a:pt x="52" y="4"/>
                      <a:pt x="47" y="2"/>
                    </a:cubicBezTo>
                    <a:cubicBezTo>
                      <a:pt x="46" y="2"/>
                      <a:pt x="45" y="1"/>
                      <a:pt x="45" y="1"/>
                    </a:cubicBezTo>
                    <a:cubicBezTo>
                      <a:pt x="45" y="0"/>
                      <a:pt x="46" y="0"/>
                      <a:pt x="48" y="0"/>
                    </a:cubicBezTo>
                    <a:cubicBezTo>
                      <a:pt x="52" y="0"/>
                      <a:pt x="55" y="1"/>
                      <a:pt x="57" y="2"/>
                    </a:cubicBezTo>
                    <a:cubicBezTo>
                      <a:pt x="60" y="3"/>
                      <a:pt x="61" y="4"/>
                      <a:pt x="61" y="4"/>
                    </a:cubicBezTo>
                    <a:cubicBezTo>
                      <a:pt x="61" y="5"/>
                      <a:pt x="60" y="6"/>
                      <a:pt x="60" y="7"/>
                    </a:cubicBezTo>
                    <a:cubicBezTo>
                      <a:pt x="60" y="30"/>
                      <a:pt x="60" y="30"/>
                      <a:pt x="60" y="30"/>
                    </a:cubicBezTo>
                    <a:cubicBezTo>
                      <a:pt x="61" y="30"/>
                      <a:pt x="62" y="30"/>
                      <a:pt x="63" y="30"/>
                    </a:cubicBezTo>
                    <a:cubicBezTo>
                      <a:pt x="67" y="30"/>
                      <a:pt x="66" y="28"/>
                      <a:pt x="72" y="28"/>
                    </a:cubicBezTo>
                    <a:cubicBezTo>
                      <a:pt x="74" y="28"/>
                      <a:pt x="77" y="28"/>
                      <a:pt x="77" y="30"/>
                    </a:cubicBezTo>
                    <a:cubicBezTo>
                      <a:pt x="77" y="31"/>
                      <a:pt x="76" y="32"/>
                      <a:pt x="75" y="32"/>
                    </a:cubicBezTo>
                    <a:cubicBezTo>
                      <a:pt x="60" y="33"/>
                      <a:pt x="60" y="33"/>
                      <a:pt x="60" y="33"/>
                    </a:cubicBezTo>
                    <a:cubicBezTo>
                      <a:pt x="60" y="42"/>
                      <a:pt x="57" y="45"/>
                      <a:pt x="56" y="45"/>
                    </a:cubicBezTo>
                    <a:cubicBezTo>
                      <a:pt x="55" y="45"/>
                      <a:pt x="55" y="44"/>
                      <a:pt x="55" y="42"/>
                    </a:cubicBezTo>
                    <a:cubicBezTo>
                      <a:pt x="55" y="7"/>
                      <a:pt x="55" y="7"/>
                      <a:pt x="55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96"/>
              <p:cNvSpPr>
                <a:spLocks/>
              </p:cNvSpPr>
              <p:nvPr/>
            </p:nvSpPr>
            <p:spPr bwMode="auto">
              <a:xfrm>
                <a:off x="4398963" y="4740275"/>
                <a:ext cx="184150" cy="231775"/>
              </a:xfrm>
              <a:custGeom>
                <a:avLst/>
                <a:gdLst/>
                <a:ahLst/>
                <a:cxnLst>
                  <a:cxn ang="0">
                    <a:pos x="59" y="8"/>
                  </a:cxn>
                  <a:cxn ang="0">
                    <a:pos x="51" y="2"/>
                  </a:cxn>
                  <a:cxn ang="0">
                    <a:pos x="49" y="1"/>
                  </a:cxn>
                  <a:cxn ang="0">
                    <a:pos x="52" y="0"/>
                  </a:cxn>
                  <a:cxn ang="0">
                    <a:pos x="63" y="3"/>
                  </a:cxn>
                  <a:cxn ang="0">
                    <a:pos x="65" y="5"/>
                  </a:cxn>
                  <a:cxn ang="0">
                    <a:pos x="64" y="7"/>
                  </a:cxn>
                  <a:cxn ang="0">
                    <a:pos x="64" y="59"/>
                  </a:cxn>
                  <a:cxn ang="0">
                    <a:pos x="62" y="80"/>
                  </a:cxn>
                  <a:cxn ang="0">
                    <a:pos x="60" y="82"/>
                  </a:cxn>
                  <a:cxn ang="0">
                    <a:pos x="59" y="78"/>
                  </a:cxn>
                  <a:cxn ang="0">
                    <a:pos x="59" y="44"/>
                  </a:cxn>
                  <a:cxn ang="0">
                    <a:pos x="15" y="57"/>
                  </a:cxn>
                  <a:cxn ang="0">
                    <a:pos x="11" y="51"/>
                  </a:cxn>
                  <a:cxn ang="0">
                    <a:pos x="10" y="23"/>
                  </a:cxn>
                  <a:cxn ang="0">
                    <a:pos x="3" y="19"/>
                  </a:cxn>
                  <a:cxn ang="0">
                    <a:pos x="0" y="18"/>
                  </a:cxn>
                  <a:cxn ang="0">
                    <a:pos x="3" y="16"/>
                  </a:cxn>
                  <a:cxn ang="0">
                    <a:pos x="14" y="17"/>
                  </a:cxn>
                  <a:cxn ang="0">
                    <a:pos x="16" y="18"/>
                  </a:cxn>
                  <a:cxn ang="0">
                    <a:pos x="16" y="21"/>
                  </a:cxn>
                  <a:cxn ang="0">
                    <a:pos x="16" y="48"/>
                  </a:cxn>
                  <a:cxn ang="0">
                    <a:pos x="19" y="50"/>
                  </a:cxn>
                  <a:cxn ang="0">
                    <a:pos x="59" y="42"/>
                  </a:cxn>
                  <a:cxn ang="0">
                    <a:pos x="59" y="8"/>
                  </a:cxn>
                </a:cxnLst>
                <a:rect l="0" t="0" r="r" b="b"/>
                <a:pathLst>
                  <a:path w="65" h="82">
                    <a:moveTo>
                      <a:pt x="59" y="8"/>
                    </a:moveTo>
                    <a:cubicBezTo>
                      <a:pt x="59" y="7"/>
                      <a:pt x="56" y="5"/>
                      <a:pt x="51" y="2"/>
                    </a:cubicBezTo>
                    <a:cubicBezTo>
                      <a:pt x="50" y="2"/>
                      <a:pt x="49" y="1"/>
                      <a:pt x="49" y="1"/>
                    </a:cubicBezTo>
                    <a:cubicBezTo>
                      <a:pt x="49" y="1"/>
                      <a:pt x="50" y="0"/>
                      <a:pt x="52" y="0"/>
                    </a:cubicBezTo>
                    <a:cubicBezTo>
                      <a:pt x="58" y="1"/>
                      <a:pt x="61" y="2"/>
                      <a:pt x="63" y="3"/>
                    </a:cubicBezTo>
                    <a:cubicBezTo>
                      <a:pt x="64" y="3"/>
                      <a:pt x="65" y="4"/>
                      <a:pt x="65" y="5"/>
                    </a:cubicBezTo>
                    <a:cubicBezTo>
                      <a:pt x="65" y="5"/>
                      <a:pt x="64" y="6"/>
                      <a:pt x="64" y="7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64" y="75"/>
                      <a:pt x="64" y="77"/>
                      <a:pt x="62" y="80"/>
                    </a:cubicBezTo>
                    <a:cubicBezTo>
                      <a:pt x="61" y="81"/>
                      <a:pt x="61" y="82"/>
                      <a:pt x="60" y="82"/>
                    </a:cubicBezTo>
                    <a:cubicBezTo>
                      <a:pt x="60" y="82"/>
                      <a:pt x="59" y="81"/>
                      <a:pt x="59" y="78"/>
                    </a:cubicBezTo>
                    <a:cubicBezTo>
                      <a:pt x="59" y="44"/>
                      <a:pt x="59" y="44"/>
                      <a:pt x="59" y="44"/>
                    </a:cubicBezTo>
                    <a:cubicBezTo>
                      <a:pt x="46" y="51"/>
                      <a:pt x="17" y="57"/>
                      <a:pt x="15" y="57"/>
                    </a:cubicBezTo>
                    <a:cubicBezTo>
                      <a:pt x="12" y="57"/>
                      <a:pt x="11" y="53"/>
                      <a:pt x="11" y="51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1"/>
                      <a:pt x="6" y="20"/>
                      <a:pt x="3" y="19"/>
                    </a:cubicBezTo>
                    <a:cubicBezTo>
                      <a:pt x="1" y="18"/>
                      <a:pt x="0" y="18"/>
                      <a:pt x="0" y="18"/>
                    </a:cubicBezTo>
                    <a:cubicBezTo>
                      <a:pt x="0" y="17"/>
                      <a:pt x="1" y="17"/>
                      <a:pt x="3" y="16"/>
                    </a:cubicBezTo>
                    <a:cubicBezTo>
                      <a:pt x="8" y="16"/>
                      <a:pt x="11" y="16"/>
                      <a:pt x="14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6" y="20"/>
                      <a:pt x="16" y="21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6" y="50"/>
                      <a:pt x="16" y="50"/>
                      <a:pt x="19" y="50"/>
                    </a:cubicBezTo>
                    <a:cubicBezTo>
                      <a:pt x="26" y="50"/>
                      <a:pt x="50" y="47"/>
                      <a:pt x="59" y="42"/>
                    </a:cubicBezTo>
                    <a:cubicBezTo>
                      <a:pt x="59" y="8"/>
                      <a:pt x="59" y="8"/>
                      <a:pt x="59" y="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97"/>
              <p:cNvSpPr>
                <a:spLocks/>
              </p:cNvSpPr>
              <p:nvPr/>
            </p:nvSpPr>
            <p:spPr bwMode="auto">
              <a:xfrm>
                <a:off x="4646613" y="4740275"/>
                <a:ext cx="223838" cy="231775"/>
              </a:xfrm>
              <a:custGeom>
                <a:avLst/>
                <a:gdLst/>
                <a:ahLst/>
                <a:cxnLst>
                  <a:cxn ang="0">
                    <a:pos x="56" y="7"/>
                  </a:cxn>
                  <a:cxn ang="0">
                    <a:pos x="47" y="2"/>
                  </a:cxn>
                  <a:cxn ang="0">
                    <a:pos x="46" y="1"/>
                  </a:cxn>
                  <a:cxn ang="0">
                    <a:pos x="49" y="0"/>
                  </a:cxn>
                  <a:cxn ang="0">
                    <a:pos x="59" y="2"/>
                  </a:cxn>
                  <a:cxn ang="0">
                    <a:pos x="62" y="4"/>
                  </a:cxn>
                  <a:cxn ang="0">
                    <a:pos x="61" y="7"/>
                  </a:cxn>
                  <a:cxn ang="0">
                    <a:pos x="61" y="39"/>
                  </a:cxn>
                  <a:cxn ang="0">
                    <a:pos x="66" y="39"/>
                  </a:cxn>
                  <a:cxn ang="0">
                    <a:pos x="74" y="37"/>
                  </a:cxn>
                  <a:cxn ang="0">
                    <a:pos x="79" y="40"/>
                  </a:cxn>
                  <a:cxn ang="0">
                    <a:pos x="77" y="42"/>
                  </a:cxn>
                  <a:cxn ang="0">
                    <a:pos x="61" y="42"/>
                  </a:cxn>
                  <a:cxn ang="0">
                    <a:pos x="61" y="67"/>
                  </a:cxn>
                  <a:cxn ang="0">
                    <a:pos x="59" y="80"/>
                  </a:cxn>
                  <a:cxn ang="0">
                    <a:pos x="57" y="82"/>
                  </a:cxn>
                  <a:cxn ang="0">
                    <a:pos x="56" y="78"/>
                  </a:cxn>
                  <a:cxn ang="0">
                    <a:pos x="56" y="44"/>
                  </a:cxn>
                  <a:cxn ang="0">
                    <a:pos x="13" y="57"/>
                  </a:cxn>
                  <a:cxn ang="0">
                    <a:pos x="9" y="51"/>
                  </a:cxn>
                  <a:cxn ang="0">
                    <a:pos x="8" y="22"/>
                  </a:cxn>
                  <a:cxn ang="0">
                    <a:pos x="1" y="18"/>
                  </a:cxn>
                  <a:cxn ang="0">
                    <a:pos x="0" y="17"/>
                  </a:cxn>
                  <a:cxn ang="0">
                    <a:pos x="3" y="16"/>
                  </a:cxn>
                  <a:cxn ang="0">
                    <a:pos x="15" y="18"/>
                  </a:cxn>
                  <a:cxn ang="0">
                    <a:pos x="29" y="17"/>
                  </a:cxn>
                  <a:cxn ang="0">
                    <a:pos x="38" y="14"/>
                  </a:cxn>
                  <a:cxn ang="0">
                    <a:pos x="44" y="17"/>
                  </a:cxn>
                  <a:cxn ang="0">
                    <a:pos x="41" y="19"/>
                  </a:cxn>
                  <a:cxn ang="0">
                    <a:pos x="16" y="20"/>
                  </a:cxn>
                  <a:cxn ang="0">
                    <a:pos x="14" y="21"/>
                  </a:cxn>
                  <a:cxn ang="0">
                    <a:pos x="14" y="45"/>
                  </a:cxn>
                  <a:cxn ang="0">
                    <a:pos x="17" y="53"/>
                  </a:cxn>
                  <a:cxn ang="0">
                    <a:pos x="56" y="42"/>
                  </a:cxn>
                  <a:cxn ang="0">
                    <a:pos x="56" y="7"/>
                  </a:cxn>
                </a:cxnLst>
                <a:rect l="0" t="0" r="r" b="b"/>
                <a:pathLst>
                  <a:path w="79" h="82">
                    <a:moveTo>
                      <a:pt x="56" y="7"/>
                    </a:moveTo>
                    <a:cubicBezTo>
                      <a:pt x="56" y="6"/>
                      <a:pt x="51" y="4"/>
                      <a:pt x="47" y="2"/>
                    </a:cubicBezTo>
                    <a:cubicBezTo>
                      <a:pt x="46" y="2"/>
                      <a:pt x="46" y="1"/>
                      <a:pt x="46" y="1"/>
                    </a:cubicBezTo>
                    <a:cubicBezTo>
                      <a:pt x="46" y="0"/>
                      <a:pt x="47" y="0"/>
                      <a:pt x="49" y="0"/>
                    </a:cubicBezTo>
                    <a:cubicBezTo>
                      <a:pt x="53" y="1"/>
                      <a:pt x="57" y="1"/>
                      <a:pt x="59" y="2"/>
                    </a:cubicBezTo>
                    <a:cubicBezTo>
                      <a:pt x="61" y="3"/>
                      <a:pt x="62" y="4"/>
                      <a:pt x="62" y="4"/>
                    </a:cubicBezTo>
                    <a:cubicBezTo>
                      <a:pt x="62" y="5"/>
                      <a:pt x="61" y="6"/>
                      <a:pt x="61" y="7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66" y="39"/>
                      <a:pt x="66" y="39"/>
                      <a:pt x="66" y="39"/>
                    </a:cubicBezTo>
                    <a:cubicBezTo>
                      <a:pt x="70" y="39"/>
                      <a:pt x="69" y="37"/>
                      <a:pt x="74" y="37"/>
                    </a:cubicBezTo>
                    <a:cubicBezTo>
                      <a:pt x="76" y="37"/>
                      <a:pt x="79" y="37"/>
                      <a:pt x="79" y="40"/>
                    </a:cubicBezTo>
                    <a:cubicBezTo>
                      <a:pt x="79" y="41"/>
                      <a:pt x="78" y="42"/>
                      <a:pt x="77" y="42"/>
                    </a:cubicBezTo>
                    <a:cubicBezTo>
                      <a:pt x="61" y="42"/>
                      <a:pt x="61" y="42"/>
                      <a:pt x="61" y="42"/>
                    </a:cubicBezTo>
                    <a:cubicBezTo>
                      <a:pt x="61" y="67"/>
                      <a:pt x="61" y="67"/>
                      <a:pt x="61" y="67"/>
                    </a:cubicBezTo>
                    <a:cubicBezTo>
                      <a:pt x="61" y="73"/>
                      <a:pt x="61" y="77"/>
                      <a:pt x="59" y="80"/>
                    </a:cubicBezTo>
                    <a:cubicBezTo>
                      <a:pt x="58" y="81"/>
                      <a:pt x="58" y="82"/>
                      <a:pt x="57" y="82"/>
                    </a:cubicBezTo>
                    <a:cubicBezTo>
                      <a:pt x="56" y="82"/>
                      <a:pt x="56" y="81"/>
                      <a:pt x="56" y="78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45" y="50"/>
                      <a:pt x="23" y="57"/>
                      <a:pt x="13" y="57"/>
                    </a:cubicBezTo>
                    <a:cubicBezTo>
                      <a:pt x="11" y="57"/>
                      <a:pt x="9" y="54"/>
                      <a:pt x="9" y="51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0"/>
                      <a:pt x="5" y="20"/>
                      <a:pt x="1" y="18"/>
                    </a:cubicBezTo>
                    <a:cubicBezTo>
                      <a:pt x="0" y="18"/>
                      <a:pt x="0" y="18"/>
                      <a:pt x="0" y="17"/>
                    </a:cubicBezTo>
                    <a:cubicBezTo>
                      <a:pt x="0" y="17"/>
                      <a:pt x="1" y="16"/>
                      <a:pt x="3" y="16"/>
                    </a:cubicBezTo>
                    <a:cubicBezTo>
                      <a:pt x="7" y="16"/>
                      <a:pt x="13" y="17"/>
                      <a:pt x="15" y="18"/>
                    </a:cubicBezTo>
                    <a:cubicBezTo>
                      <a:pt x="20" y="18"/>
                      <a:pt x="26" y="17"/>
                      <a:pt x="29" y="17"/>
                    </a:cubicBezTo>
                    <a:cubicBezTo>
                      <a:pt x="33" y="17"/>
                      <a:pt x="32" y="14"/>
                      <a:pt x="38" y="14"/>
                    </a:cubicBezTo>
                    <a:cubicBezTo>
                      <a:pt x="40" y="14"/>
                      <a:pt x="44" y="14"/>
                      <a:pt x="44" y="17"/>
                    </a:cubicBezTo>
                    <a:cubicBezTo>
                      <a:pt x="44" y="18"/>
                      <a:pt x="43" y="19"/>
                      <a:pt x="41" y="19"/>
                    </a:cubicBezTo>
                    <a:cubicBezTo>
                      <a:pt x="33" y="19"/>
                      <a:pt x="24" y="20"/>
                      <a:pt x="16" y="20"/>
                    </a:cubicBezTo>
                    <a:cubicBezTo>
                      <a:pt x="15" y="20"/>
                      <a:pt x="14" y="19"/>
                      <a:pt x="14" y="21"/>
                    </a:cubicBezTo>
                    <a:cubicBezTo>
                      <a:pt x="14" y="25"/>
                      <a:pt x="14" y="38"/>
                      <a:pt x="14" y="45"/>
                    </a:cubicBezTo>
                    <a:cubicBezTo>
                      <a:pt x="14" y="52"/>
                      <a:pt x="14" y="53"/>
                      <a:pt x="17" y="53"/>
                    </a:cubicBezTo>
                    <a:cubicBezTo>
                      <a:pt x="19" y="53"/>
                      <a:pt x="42" y="49"/>
                      <a:pt x="56" y="42"/>
                    </a:cubicBezTo>
                    <a:cubicBezTo>
                      <a:pt x="56" y="7"/>
                      <a:pt x="56" y="7"/>
                      <a:pt x="56" y="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8" name="Gruppieren 174"/>
            <p:cNvGrpSpPr/>
            <p:nvPr/>
          </p:nvGrpSpPr>
          <p:grpSpPr>
            <a:xfrm>
              <a:off x="3971926" y="3568712"/>
              <a:ext cx="571500" cy="92869"/>
              <a:chOff x="3971926" y="4176713"/>
              <a:chExt cx="571500" cy="123825"/>
            </a:xfrm>
            <a:solidFill>
              <a:schemeClr val="accent5"/>
            </a:solidFill>
          </p:grpSpPr>
          <p:sp>
            <p:nvSpPr>
              <p:cNvPr id="151" name="Freeform 98"/>
              <p:cNvSpPr>
                <a:spLocks noEditPoints="1"/>
              </p:cNvSpPr>
              <p:nvPr/>
            </p:nvSpPr>
            <p:spPr bwMode="auto">
              <a:xfrm>
                <a:off x="3971926" y="4183063"/>
                <a:ext cx="109538" cy="117475"/>
              </a:xfrm>
              <a:custGeom>
                <a:avLst/>
                <a:gdLst/>
                <a:ahLst/>
                <a:cxnLst>
                  <a:cxn ang="0">
                    <a:pos x="28" y="14"/>
                  </a:cxn>
                  <a:cxn ang="0">
                    <a:pos x="28" y="16"/>
                  </a:cxn>
                  <a:cxn ang="0">
                    <a:pos x="39" y="28"/>
                  </a:cxn>
                  <a:cxn ang="0">
                    <a:pos x="21" y="42"/>
                  </a:cxn>
                  <a:cxn ang="0">
                    <a:pos x="20" y="39"/>
                  </a:cxn>
                  <a:cxn ang="0">
                    <a:pos x="36" y="29"/>
                  </a:cxn>
                  <a:cxn ang="0">
                    <a:pos x="36" y="28"/>
                  </a:cxn>
                  <a:cxn ang="0">
                    <a:pos x="27" y="19"/>
                  </a:cxn>
                  <a:cxn ang="0">
                    <a:pos x="17" y="33"/>
                  </a:cxn>
                  <a:cxn ang="0">
                    <a:pos x="19" y="36"/>
                  </a:cxn>
                  <a:cxn ang="0">
                    <a:pos x="16" y="37"/>
                  </a:cxn>
                  <a:cxn ang="0">
                    <a:pos x="15" y="35"/>
                  </a:cxn>
                  <a:cxn ang="0">
                    <a:pos x="6" y="39"/>
                  </a:cxn>
                  <a:cxn ang="0">
                    <a:pos x="0" y="32"/>
                  </a:cxn>
                  <a:cxn ang="0">
                    <a:pos x="12" y="18"/>
                  </a:cxn>
                  <a:cxn ang="0">
                    <a:pos x="12" y="10"/>
                  </a:cxn>
                  <a:cxn ang="0">
                    <a:pos x="2" y="10"/>
                  </a:cxn>
                  <a:cxn ang="0">
                    <a:pos x="2" y="7"/>
                  </a:cxn>
                  <a:cxn ang="0">
                    <a:pos x="12" y="7"/>
                  </a:cxn>
                  <a:cxn ang="0">
                    <a:pos x="12" y="0"/>
                  </a:cxn>
                  <a:cxn ang="0">
                    <a:pos x="17" y="0"/>
                  </a:cxn>
                  <a:cxn ang="0">
                    <a:pos x="16" y="1"/>
                  </a:cxn>
                  <a:cxn ang="0">
                    <a:pos x="16" y="7"/>
                  </a:cxn>
                  <a:cxn ang="0">
                    <a:pos x="35" y="5"/>
                  </a:cxn>
                  <a:cxn ang="0">
                    <a:pos x="35" y="8"/>
                  </a:cxn>
                  <a:cxn ang="0">
                    <a:pos x="15" y="10"/>
                  </a:cxn>
                  <a:cxn ang="0">
                    <a:pos x="15" y="17"/>
                  </a:cxn>
                  <a:cxn ang="0">
                    <a:pos x="22" y="16"/>
                  </a:cxn>
                  <a:cxn ang="0">
                    <a:pos x="24" y="16"/>
                  </a:cxn>
                  <a:cxn ang="0">
                    <a:pos x="25" y="14"/>
                  </a:cxn>
                  <a:cxn ang="0">
                    <a:pos x="28" y="14"/>
                  </a:cxn>
                  <a:cxn ang="0">
                    <a:pos x="14" y="32"/>
                  </a:cxn>
                  <a:cxn ang="0">
                    <a:pos x="12" y="21"/>
                  </a:cxn>
                  <a:cxn ang="0">
                    <a:pos x="3" y="32"/>
                  </a:cxn>
                  <a:cxn ang="0">
                    <a:pos x="6" y="35"/>
                  </a:cxn>
                  <a:cxn ang="0">
                    <a:pos x="14" y="32"/>
                  </a:cxn>
                  <a:cxn ang="0">
                    <a:pos x="23" y="19"/>
                  </a:cxn>
                  <a:cxn ang="0">
                    <a:pos x="15" y="20"/>
                  </a:cxn>
                  <a:cxn ang="0">
                    <a:pos x="16" y="30"/>
                  </a:cxn>
                  <a:cxn ang="0">
                    <a:pos x="23" y="19"/>
                  </a:cxn>
                </a:cxnLst>
                <a:rect l="0" t="0" r="r" b="b"/>
                <a:pathLst>
                  <a:path w="39" h="42">
                    <a:moveTo>
                      <a:pt x="28" y="14"/>
                    </a:moveTo>
                    <a:cubicBezTo>
                      <a:pt x="28" y="15"/>
                      <a:pt x="28" y="16"/>
                      <a:pt x="28" y="16"/>
                    </a:cubicBezTo>
                    <a:cubicBezTo>
                      <a:pt x="36" y="18"/>
                      <a:pt x="39" y="23"/>
                      <a:pt x="39" y="28"/>
                    </a:cubicBezTo>
                    <a:cubicBezTo>
                      <a:pt x="39" y="36"/>
                      <a:pt x="33" y="41"/>
                      <a:pt x="21" y="42"/>
                    </a:cubicBezTo>
                    <a:cubicBezTo>
                      <a:pt x="21" y="41"/>
                      <a:pt x="20" y="40"/>
                      <a:pt x="20" y="39"/>
                    </a:cubicBezTo>
                    <a:cubicBezTo>
                      <a:pt x="29" y="38"/>
                      <a:pt x="36" y="35"/>
                      <a:pt x="36" y="29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6" y="23"/>
                      <a:pt x="32" y="20"/>
                      <a:pt x="27" y="19"/>
                    </a:cubicBezTo>
                    <a:cubicBezTo>
                      <a:pt x="25" y="25"/>
                      <a:pt x="21" y="30"/>
                      <a:pt x="17" y="33"/>
                    </a:cubicBezTo>
                    <a:cubicBezTo>
                      <a:pt x="18" y="34"/>
                      <a:pt x="18" y="35"/>
                      <a:pt x="19" y="36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5" y="37"/>
                      <a:pt x="15" y="36"/>
                      <a:pt x="15" y="35"/>
                    </a:cubicBezTo>
                    <a:cubicBezTo>
                      <a:pt x="11" y="38"/>
                      <a:pt x="8" y="39"/>
                      <a:pt x="6" y="39"/>
                    </a:cubicBezTo>
                    <a:cubicBezTo>
                      <a:pt x="2" y="39"/>
                      <a:pt x="0" y="36"/>
                      <a:pt x="0" y="32"/>
                    </a:cubicBezTo>
                    <a:cubicBezTo>
                      <a:pt x="0" y="26"/>
                      <a:pt x="5" y="21"/>
                      <a:pt x="12" y="18"/>
                    </a:cubicBezTo>
                    <a:cubicBezTo>
                      <a:pt x="12" y="15"/>
                      <a:pt x="12" y="13"/>
                      <a:pt x="12" y="10"/>
                    </a:cubicBezTo>
                    <a:cubicBezTo>
                      <a:pt x="4" y="10"/>
                      <a:pt x="3" y="10"/>
                      <a:pt x="2" y="10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7"/>
                      <a:pt x="8" y="7"/>
                      <a:pt x="12" y="7"/>
                    </a:cubicBezTo>
                    <a:cubicBezTo>
                      <a:pt x="12" y="5"/>
                      <a:pt x="12" y="2"/>
                      <a:pt x="12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1"/>
                      <a:pt x="16" y="1"/>
                    </a:cubicBezTo>
                    <a:cubicBezTo>
                      <a:pt x="16" y="3"/>
                      <a:pt x="16" y="5"/>
                      <a:pt x="16" y="7"/>
                    </a:cubicBezTo>
                    <a:cubicBezTo>
                      <a:pt x="21" y="6"/>
                      <a:pt x="30" y="6"/>
                      <a:pt x="35" y="5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0" y="9"/>
                      <a:pt x="21" y="10"/>
                      <a:pt x="15" y="10"/>
                    </a:cubicBezTo>
                    <a:cubicBezTo>
                      <a:pt x="15" y="12"/>
                      <a:pt x="15" y="15"/>
                      <a:pt x="15" y="17"/>
                    </a:cubicBezTo>
                    <a:cubicBezTo>
                      <a:pt x="19" y="16"/>
                      <a:pt x="22" y="16"/>
                      <a:pt x="22" y="16"/>
                    </a:cubicBezTo>
                    <a:cubicBezTo>
                      <a:pt x="23" y="16"/>
                      <a:pt x="24" y="16"/>
                      <a:pt x="24" y="16"/>
                    </a:cubicBezTo>
                    <a:cubicBezTo>
                      <a:pt x="25" y="15"/>
                      <a:pt x="25" y="14"/>
                      <a:pt x="25" y="14"/>
                    </a:cubicBezTo>
                    <a:lnTo>
                      <a:pt x="28" y="14"/>
                    </a:lnTo>
                    <a:close/>
                    <a:moveTo>
                      <a:pt x="14" y="32"/>
                    </a:moveTo>
                    <a:cubicBezTo>
                      <a:pt x="13" y="29"/>
                      <a:pt x="13" y="25"/>
                      <a:pt x="12" y="21"/>
                    </a:cubicBezTo>
                    <a:cubicBezTo>
                      <a:pt x="7" y="23"/>
                      <a:pt x="3" y="27"/>
                      <a:pt x="3" y="32"/>
                    </a:cubicBezTo>
                    <a:cubicBezTo>
                      <a:pt x="3" y="35"/>
                      <a:pt x="5" y="36"/>
                      <a:pt x="6" y="35"/>
                    </a:cubicBezTo>
                    <a:cubicBezTo>
                      <a:pt x="9" y="35"/>
                      <a:pt x="11" y="34"/>
                      <a:pt x="14" y="32"/>
                    </a:cubicBezTo>
                    <a:close/>
                    <a:moveTo>
                      <a:pt x="23" y="19"/>
                    </a:moveTo>
                    <a:cubicBezTo>
                      <a:pt x="23" y="19"/>
                      <a:pt x="19" y="19"/>
                      <a:pt x="15" y="20"/>
                    </a:cubicBezTo>
                    <a:cubicBezTo>
                      <a:pt x="15" y="24"/>
                      <a:pt x="16" y="27"/>
                      <a:pt x="16" y="30"/>
                    </a:cubicBezTo>
                    <a:cubicBezTo>
                      <a:pt x="19" y="27"/>
                      <a:pt x="22" y="23"/>
                      <a:pt x="23" y="1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99"/>
              <p:cNvSpPr>
                <a:spLocks noEditPoints="1"/>
              </p:cNvSpPr>
              <p:nvPr/>
            </p:nvSpPr>
            <p:spPr bwMode="auto">
              <a:xfrm>
                <a:off x="4106863" y="4184650"/>
                <a:ext cx="77788" cy="115888"/>
              </a:xfrm>
              <a:custGeom>
                <a:avLst/>
                <a:gdLst/>
                <a:ahLst/>
                <a:cxnLst>
                  <a:cxn ang="0">
                    <a:pos x="1" y="26"/>
                  </a:cxn>
                  <a:cxn ang="0">
                    <a:pos x="0" y="17"/>
                  </a:cxn>
                  <a:cxn ang="0">
                    <a:pos x="2" y="1"/>
                  </a:cxn>
                  <a:cxn ang="0">
                    <a:pos x="6" y="2"/>
                  </a:cxn>
                  <a:cxn ang="0">
                    <a:pos x="5" y="3"/>
                  </a:cxn>
                  <a:cxn ang="0">
                    <a:pos x="3" y="17"/>
                  </a:cxn>
                  <a:cxn ang="0">
                    <a:pos x="4" y="19"/>
                  </a:cxn>
                  <a:cxn ang="0">
                    <a:pos x="7" y="12"/>
                  </a:cxn>
                  <a:cxn ang="0">
                    <a:pos x="9" y="14"/>
                  </a:cxn>
                  <a:cxn ang="0">
                    <a:pos x="5" y="24"/>
                  </a:cxn>
                  <a:cxn ang="0">
                    <a:pos x="5" y="25"/>
                  </a:cxn>
                  <a:cxn ang="0">
                    <a:pos x="1" y="26"/>
                  </a:cxn>
                  <a:cxn ang="0">
                    <a:pos x="27" y="0"/>
                  </a:cxn>
                  <a:cxn ang="0">
                    <a:pos x="26" y="1"/>
                  </a:cxn>
                  <a:cxn ang="0">
                    <a:pos x="27" y="18"/>
                  </a:cxn>
                  <a:cxn ang="0">
                    <a:pos x="9" y="41"/>
                  </a:cxn>
                  <a:cxn ang="0">
                    <a:pos x="6" y="38"/>
                  </a:cxn>
                  <a:cxn ang="0">
                    <a:pos x="23" y="18"/>
                  </a:cxn>
                  <a:cxn ang="0">
                    <a:pos x="22" y="0"/>
                  </a:cxn>
                  <a:cxn ang="0">
                    <a:pos x="27" y="0"/>
                  </a:cxn>
                </a:cxnLst>
                <a:rect l="0" t="0" r="r" b="b"/>
                <a:pathLst>
                  <a:path w="27" h="41">
                    <a:moveTo>
                      <a:pt x="1" y="26"/>
                    </a:moveTo>
                    <a:cubicBezTo>
                      <a:pt x="1" y="23"/>
                      <a:pt x="0" y="20"/>
                      <a:pt x="0" y="17"/>
                    </a:cubicBezTo>
                    <a:cubicBezTo>
                      <a:pt x="0" y="12"/>
                      <a:pt x="1" y="7"/>
                      <a:pt x="2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3"/>
                      <a:pt x="5" y="3"/>
                    </a:cubicBezTo>
                    <a:cubicBezTo>
                      <a:pt x="4" y="7"/>
                      <a:pt x="3" y="13"/>
                      <a:pt x="3" y="17"/>
                    </a:cubicBezTo>
                    <a:cubicBezTo>
                      <a:pt x="3" y="18"/>
                      <a:pt x="4" y="19"/>
                      <a:pt x="4" y="19"/>
                    </a:cubicBezTo>
                    <a:cubicBezTo>
                      <a:pt x="5" y="17"/>
                      <a:pt x="6" y="14"/>
                      <a:pt x="7" y="12"/>
                    </a:cubicBezTo>
                    <a:cubicBezTo>
                      <a:pt x="8" y="12"/>
                      <a:pt x="9" y="13"/>
                      <a:pt x="9" y="14"/>
                    </a:cubicBezTo>
                    <a:cubicBezTo>
                      <a:pt x="6" y="20"/>
                      <a:pt x="5" y="22"/>
                      <a:pt x="5" y="24"/>
                    </a:cubicBezTo>
                    <a:cubicBezTo>
                      <a:pt x="5" y="24"/>
                      <a:pt x="5" y="25"/>
                      <a:pt x="5" y="25"/>
                    </a:cubicBezTo>
                    <a:lnTo>
                      <a:pt x="1" y="26"/>
                    </a:lnTo>
                    <a:close/>
                    <a:moveTo>
                      <a:pt x="27" y="0"/>
                    </a:moveTo>
                    <a:cubicBezTo>
                      <a:pt x="27" y="1"/>
                      <a:pt x="27" y="1"/>
                      <a:pt x="26" y="1"/>
                    </a:cubicBezTo>
                    <a:cubicBezTo>
                      <a:pt x="26" y="5"/>
                      <a:pt x="27" y="12"/>
                      <a:pt x="27" y="18"/>
                    </a:cubicBezTo>
                    <a:cubicBezTo>
                      <a:pt x="26" y="27"/>
                      <a:pt x="23" y="35"/>
                      <a:pt x="9" y="41"/>
                    </a:cubicBezTo>
                    <a:cubicBezTo>
                      <a:pt x="8" y="40"/>
                      <a:pt x="7" y="39"/>
                      <a:pt x="6" y="38"/>
                    </a:cubicBezTo>
                    <a:cubicBezTo>
                      <a:pt x="19" y="33"/>
                      <a:pt x="23" y="25"/>
                      <a:pt x="23" y="18"/>
                    </a:cubicBezTo>
                    <a:cubicBezTo>
                      <a:pt x="23" y="12"/>
                      <a:pt x="22" y="5"/>
                      <a:pt x="22" y="0"/>
                    </a:cubicBez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00"/>
              <p:cNvSpPr>
                <a:spLocks noEditPoints="1"/>
              </p:cNvSpPr>
              <p:nvPr/>
            </p:nvSpPr>
            <p:spPr bwMode="auto">
              <a:xfrm>
                <a:off x="4206876" y="4176713"/>
                <a:ext cx="119063" cy="122238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16" y="4"/>
                  </a:cxn>
                  <a:cxn ang="0">
                    <a:pos x="14" y="14"/>
                  </a:cxn>
                  <a:cxn ang="0">
                    <a:pos x="19" y="14"/>
                  </a:cxn>
                  <a:cxn ang="0">
                    <a:pos x="29" y="25"/>
                  </a:cxn>
                  <a:cxn ang="0">
                    <a:pos x="27" y="36"/>
                  </a:cxn>
                  <a:cxn ang="0">
                    <a:pos x="19" y="43"/>
                  </a:cxn>
                  <a:cxn ang="0">
                    <a:pos x="10" y="39"/>
                  </a:cxn>
                  <a:cxn ang="0">
                    <a:pos x="11" y="36"/>
                  </a:cxn>
                  <a:cxn ang="0">
                    <a:pos x="19" y="40"/>
                  </a:cxn>
                  <a:cxn ang="0">
                    <a:pos x="24" y="35"/>
                  </a:cxn>
                  <a:cxn ang="0">
                    <a:pos x="25" y="25"/>
                  </a:cxn>
                  <a:cxn ang="0">
                    <a:pos x="19" y="17"/>
                  </a:cxn>
                  <a:cxn ang="0">
                    <a:pos x="13" y="17"/>
                  </a:cxn>
                  <a:cxn ang="0">
                    <a:pos x="3" y="43"/>
                  </a:cxn>
                  <a:cxn ang="0">
                    <a:pos x="0" y="41"/>
                  </a:cxn>
                  <a:cxn ang="0">
                    <a:pos x="10" y="18"/>
                  </a:cxn>
                  <a:cxn ang="0">
                    <a:pos x="1" y="19"/>
                  </a:cxn>
                  <a:cxn ang="0">
                    <a:pos x="1" y="15"/>
                  </a:cxn>
                  <a:cxn ang="0">
                    <a:pos x="10" y="14"/>
                  </a:cxn>
                  <a:cxn ang="0">
                    <a:pos x="12" y="2"/>
                  </a:cxn>
                  <a:cxn ang="0">
                    <a:pos x="17" y="3"/>
                  </a:cxn>
                  <a:cxn ang="0">
                    <a:pos x="28" y="2"/>
                  </a:cxn>
                  <a:cxn ang="0">
                    <a:pos x="35" y="8"/>
                  </a:cxn>
                  <a:cxn ang="0">
                    <a:pos x="33" y="10"/>
                  </a:cxn>
                  <a:cxn ang="0">
                    <a:pos x="26" y="3"/>
                  </a:cxn>
                  <a:cxn ang="0">
                    <a:pos x="28" y="2"/>
                  </a:cxn>
                  <a:cxn ang="0">
                    <a:pos x="39" y="29"/>
                  </a:cxn>
                  <a:cxn ang="0">
                    <a:pos x="29" y="13"/>
                  </a:cxn>
                  <a:cxn ang="0">
                    <a:pos x="32" y="11"/>
                  </a:cxn>
                  <a:cxn ang="0">
                    <a:pos x="42" y="28"/>
                  </a:cxn>
                  <a:cxn ang="0">
                    <a:pos x="39" y="29"/>
                  </a:cxn>
                  <a:cxn ang="0">
                    <a:pos x="35" y="0"/>
                  </a:cxn>
                  <a:cxn ang="0">
                    <a:pos x="42" y="6"/>
                  </a:cxn>
                  <a:cxn ang="0">
                    <a:pos x="40" y="8"/>
                  </a:cxn>
                  <a:cxn ang="0">
                    <a:pos x="34" y="1"/>
                  </a:cxn>
                  <a:cxn ang="0">
                    <a:pos x="35" y="0"/>
                  </a:cxn>
                </a:cxnLst>
                <a:rect l="0" t="0" r="r" b="b"/>
                <a:pathLst>
                  <a:path w="42" h="43">
                    <a:moveTo>
                      <a:pt x="17" y="3"/>
                    </a:moveTo>
                    <a:cubicBezTo>
                      <a:pt x="17" y="4"/>
                      <a:pt x="17" y="4"/>
                      <a:pt x="16" y="4"/>
                    </a:cubicBezTo>
                    <a:cubicBezTo>
                      <a:pt x="15" y="7"/>
                      <a:pt x="14" y="11"/>
                      <a:pt x="14" y="14"/>
                    </a:cubicBezTo>
                    <a:cubicBezTo>
                      <a:pt x="16" y="14"/>
                      <a:pt x="18" y="14"/>
                      <a:pt x="19" y="14"/>
                    </a:cubicBezTo>
                    <a:cubicBezTo>
                      <a:pt x="26" y="14"/>
                      <a:pt x="29" y="18"/>
                      <a:pt x="29" y="25"/>
                    </a:cubicBezTo>
                    <a:cubicBezTo>
                      <a:pt x="29" y="29"/>
                      <a:pt x="28" y="33"/>
                      <a:pt x="27" y="36"/>
                    </a:cubicBezTo>
                    <a:cubicBezTo>
                      <a:pt x="26" y="41"/>
                      <a:pt x="23" y="43"/>
                      <a:pt x="19" y="43"/>
                    </a:cubicBezTo>
                    <a:cubicBezTo>
                      <a:pt x="17" y="43"/>
                      <a:pt x="14" y="42"/>
                      <a:pt x="10" y="39"/>
                    </a:cubicBezTo>
                    <a:cubicBezTo>
                      <a:pt x="10" y="38"/>
                      <a:pt x="11" y="37"/>
                      <a:pt x="11" y="36"/>
                    </a:cubicBezTo>
                    <a:cubicBezTo>
                      <a:pt x="15" y="39"/>
                      <a:pt x="17" y="40"/>
                      <a:pt x="19" y="40"/>
                    </a:cubicBezTo>
                    <a:cubicBezTo>
                      <a:pt x="21" y="40"/>
                      <a:pt x="23" y="38"/>
                      <a:pt x="24" y="35"/>
                    </a:cubicBezTo>
                    <a:cubicBezTo>
                      <a:pt x="25" y="32"/>
                      <a:pt x="25" y="28"/>
                      <a:pt x="25" y="25"/>
                    </a:cubicBezTo>
                    <a:cubicBezTo>
                      <a:pt x="25" y="20"/>
                      <a:pt x="24" y="17"/>
                      <a:pt x="19" y="17"/>
                    </a:cubicBezTo>
                    <a:cubicBezTo>
                      <a:pt x="17" y="17"/>
                      <a:pt x="15" y="17"/>
                      <a:pt x="13" y="17"/>
                    </a:cubicBezTo>
                    <a:cubicBezTo>
                      <a:pt x="11" y="27"/>
                      <a:pt x="8" y="35"/>
                      <a:pt x="3" y="4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5" y="34"/>
                      <a:pt x="7" y="27"/>
                      <a:pt x="10" y="18"/>
                    </a:cubicBezTo>
                    <a:cubicBezTo>
                      <a:pt x="7" y="18"/>
                      <a:pt x="4" y="18"/>
                      <a:pt x="1" y="19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3" y="15"/>
                      <a:pt x="7" y="15"/>
                      <a:pt x="10" y="14"/>
                    </a:cubicBezTo>
                    <a:cubicBezTo>
                      <a:pt x="11" y="11"/>
                      <a:pt x="12" y="7"/>
                      <a:pt x="12" y="2"/>
                    </a:cubicBezTo>
                    <a:lnTo>
                      <a:pt x="17" y="3"/>
                    </a:lnTo>
                    <a:close/>
                    <a:moveTo>
                      <a:pt x="28" y="2"/>
                    </a:moveTo>
                    <a:cubicBezTo>
                      <a:pt x="30" y="3"/>
                      <a:pt x="33" y="6"/>
                      <a:pt x="35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8"/>
                      <a:pt x="29" y="5"/>
                      <a:pt x="26" y="3"/>
                    </a:cubicBezTo>
                    <a:lnTo>
                      <a:pt x="28" y="2"/>
                    </a:lnTo>
                    <a:close/>
                    <a:moveTo>
                      <a:pt x="39" y="29"/>
                    </a:moveTo>
                    <a:cubicBezTo>
                      <a:pt x="37" y="22"/>
                      <a:pt x="34" y="17"/>
                      <a:pt x="29" y="13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7" y="15"/>
                      <a:pt x="41" y="21"/>
                      <a:pt x="42" y="28"/>
                    </a:cubicBezTo>
                    <a:lnTo>
                      <a:pt x="39" y="29"/>
                    </a:lnTo>
                    <a:close/>
                    <a:moveTo>
                      <a:pt x="35" y="0"/>
                    </a:moveTo>
                    <a:cubicBezTo>
                      <a:pt x="38" y="1"/>
                      <a:pt x="40" y="4"/>
                      <a:pt x="42" y="6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9" y="6"/>
                      <a:pt x="36" y="3"/>
                      <a:pt x="34" y="1"/>
                    </a:cubicBez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01"/>
              <p:cNvSpPr>
                <a:spLocks/>
              </p:cNvSpPr>
              <p:nvPr/>
            </p:nvSpPr>
            <p:spPr bwMode="auto">
              <a:xfrm>
                <a:off x="4343401" y="4183063"/>
                <a:ext cx="93663" cy="117475"/>
              </a:xfrm>
              <a:custGeom>
                <a:avLst/>
                <a:gdLst/>
                <a:ahLst/>
                <a:cxnLst>
                  <a:cxn ang="0">
                    <a:pos x="32" y="16"/>
                  </a:cxn>
                  <a:cxn ang="0">
                    <a:pos x="31" y="16"/>
                  </a:cxn>
                  <a:cxn ang="0">
                    <a:pos x="30" y="15"/>
                  </a:cxn>
                  <a:cxn ang="0">
                    <a:pos x="3" y="32"/>
                  </a:cxn>
                  <a:cxn ang="0">
                    <a:pos x="16" y="38"/>
                  </a:cxn>
                  <a:cxn ang="0">
                    <a:pos x="33" y="37"/>
                  </a:cxn>
                  <a:cxn ang="0">
                    <a:pos x="33" y="41"/>
                  </a:cxn>
                  <a:cxn ang="0">
                    <a:pos x="16" y="42"/>
                  </a:cxn>
                  <a:cxn ang="0">
                    <a:pos x="0" y="32"/>
                  </a:cxn>
                  <a:cxn ang="0">
                    <a:pos x="12" y="19"/>
                  </a:cxn>
                  <a:cxn ang="0">
                    <a:pos x="10" y="0"/>
                  </a:cxn>
                  <a:cxn ang="0">
                    <a:pos x="15" y="0"/>
                  </a:cxn>
                  <a:cxn ang="0">
                    <a:pos x="14" y="1"/>
                  </a:cxn>
                  <a:cxn ang="0">
                    <a:pos x="16" y="17"/>
                  </a:cxn>
                  <a:cxn ang="0">
                    <a:pos x="30" y="12"/>
                  </a:cxn>
                  <a:cxn ang="0">
                    <a:pos x="32" y="16"/>
                  </a:cxn>
                </a:cxnLst>
                <a:rect l="0" t="0" r="r" b="b"/>
                <a:pathLst>
                  <a:path w="33" h="42">
                    <a:moveTo>
                      <a:pt x="32" y="16"/>
                    </a:moveTo>
                    <a:cubicBezTo>
                      <a:pt x="32" y="16"/>
                      <a:pt x="31" y="16"/>
                      <a:pt x="31" y="16"/>
                    </a:cubicBezTo>
                    <a:cubicBezTo>
                      <a:pt x="31" y="16"/>
                      <a:pt x="31" y="16"/>
                      <a:pt x="30" y="15"/>
                    </a:cubicBezTo>
                    <a:cubicBezTo>
                      <a:pt x="16" y="20"/>
                      <a:pt x="3" y="26"/>
                      <a:pt x="3" y="32"/>
                    </a:cubicBezTo>
                    <a:cubicBezTo>
                      <a:pt x="3" y="37"/>
                      <a:pt x="8" y="38"/>
                      <a:pt x="16" y="38"/>
                    </a:cubicBezTo>
                    <a:cubicBezTo>
                      <a:pt x="24" y="38"/>
                      <a:pt x="30" y="38"/>
                      <a:pt x="33" y="37"/>
                    </a:cubicBezTo>
                    <a:cubicBezTo>
                      <a:pt x="33" y="41"/>
                      <a:pt x="33" y="41"/>
                      <a:pt x="33" y="41"/>
                    </a:cubicBezTo>
                    <a:cubicBezTo>
                      <a:pt x="29" y="41"/>
                      <a:pt x="22" y="42"/>
                      <a:pt x="16" y="42"/>
                    </a:cubicBezTo>
                    <a:cubicBezTo>
                      <a:pt x="7" y="42"/>
                      <a:pt x="0" y="39"/>
                      <a:pt x="0" y="32"/>
                    </a:cubicBezTo>
                    <a:cubicBezTo>
                      <a:pt x="0" y="27"/>
                      <a:pt x="5" y="23"/>
                      <a:pt x="12" y="19"/>
                    </a:cubicBezTo>
                    <a:cubicBezTo>
                      <a:pt x="11" y="16"/>
                      <a:pt x="10" y="11"/>
                      <a:pt x="1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1"/>
                      <a:pt x="15" y="1"/>
                      <a:pt x="14" y="1"/>
                    </a:cubicBezTo>
                    <a:cubicBezTo>
                      <a:pt x="14" y="10"/>
                      <a:pt x="14" y="15"/>
                      <a:pt x="16" y="17"/>
                    </a:cubicBezTo>
                    <a:cubicBezTo>
                      <a:pt x="20" y="15"/>
                      <a:pt x="25" y="13"/>
                      <a:pt x="30" y="12"/>
                    </a:cubicBezTo>
                    <a:lnTo>
                      <a:pt x="32" y="1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102"/>
              <p:cNvSpPr>
                <a:spLocks noEditPoints="1"/>
              </p:cNvSpPr>
              <p:nvPr/>
            </p:nvSpPr>
            <p:spPr bwMode="auto">
              <a:xfrm>
                <a:off x="4456113" y="4183063"/>
                <a:ext cx="87313" cy="117475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20" y="12"/>
                  </a:cxn>
                  <a:cxn ang="0">
                    <a:pos x="31" y="23"/>
                  </a:cxn>
                  <a:cxn ang="0">
                    <a:pos x="31" y="24"/>
                  </a:cxn>
                  <a:cxn ang="0">
                    <a:pos x="10" y="42"/>
                  </a:cxn>
                  <a:cxn ang="0">
                    <a:pos x="8" y="39"/>
                  </a:cxn>
                  <a:cxn ang="0">
                    <a:pos x="27" y="23"/>
                  </a:cxn>
                  <a:cxn ang="0">
                    <a:pos x="19" y="16"/>
                  </a:cxn>
                  <a:cxn ang="0">
                    <a:pos x="2" y="19"/>
                  </a:cxn>
                  <a:cxn ang="0">
                    <a:pos x="1" y="20"/>
                  </a:cxn>
                  <a:cxn ang="0">
                    <a:pos x="0" y="16"/>
                  </a:cxn>
                  <a:cxn ang="0">
                    <a:pos x="7" y="0"/>
                  </a:cxn>
                  <a:cxn ang="0">
                    <a:pos x="26" y="4"/>
                  </a:cxn>
                  <a:cxn ang="0">
                    <a:pos x="25" y="7"/>
                  </a:cxn>
                  <a:cxn ang="0">
                    <a:pos x="6" y="3"/>
                  </a:cxn>
                  <a:cxn ang="0">
                    <a:pos x="7" y="0"/>
                  </a:cxn>
                </a:cxnLst>
                <a:rect l="0" t="0" r="r" b="b"/>
                <a:pathLst>
                  <a:path w="31" h="42">
                    <a:moveTo>
                      <a:pt x="0" y="16"/>
                    </a:moveTo>
                    <a:cubicBezTo>
                      <a:pt x="7" y="14"/>
                      <a:pt x="16" y="12"/>
                      <a:pt x="20" y="12"/>
                    </a:cubicBezTo>
                    <a:cubicBezTo>
                      <a:pt x="27" y="12"/>
                      <a:pt x="31" y="16"/>
                      <a:pt x="31" y="23"/>
                    </a:cubicBezTo>
                    <a:cubicBezTo>
                      <a:pt x="31" y="24"/>
                      <a:pt x="31" y="24"/>
                      <a:pt x="31" y="24"/>
                    </a:cubicBezTo>
                    <a:cubicBezTo>
                      <a:pt x="31" y="32"/>
                      <a:pt x="24" y="39"/>
                      <a:pt x="10" y="42"/>
                    </a:cubicBezTo>
                    <a:cubicBezTo>
                      <a:pt x="10" y="41"/>
                      <a:pt x="9" y="40"/>
                      <a:pt x="8" y="39"/>
                    </a:cubicBezTo>
                    <a:cubicBezTo>
                      <a:pt x="20" y="36"/>
                      <a:pt x="27" y="31"/>
                      <a:pt x="27" y="23"/>
                    </a:cubicBezTo>
                    <a:cubicBezTo>
                      <a:pt x="27" y="19"/>
                      <a:pt x="25" y="16"/>
                      <a:pt x="19" y="16"/>
                    </a:cubicBezTo>
                    <a:cubicBezTo>
                      <a:pt x="16" y="16"/>
                      <a:pt x="8" y="17"/>
                      <a:pt x="2" y="19"/>
                    </a:cubicBezTo>
                    <a:cubicBezTo>
                      <a:pt x="2" y="20"/>
                      <a:pt x="2" y="20"/>
                      <a:pt x="1" y="20"/>
                    </a:cubicBezTo>
                    <a:lnTo>
                      <a:pt x="0" y="16"/>
                    </a:lnTo>
                    <a:close/>
                    <a:moveTo>
                      <a:pt x="7" y="0"/>
                    </a:moveTo>
                    <a:cubicBezTo>
                      <a:pt x="13" y="0"/>
                      <a:pt x="21" y="2"/>
                      <a:pt x="26" y="4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0" y="5"/>
                      <a:pt x="12" y="4"/>
                      <a:pt x="6" y="3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9" name="Gruppieren 169"/>
            <p:cNvGrpSpPr/>
            <p:nvPr/>
          </p:nvGrpSpPr>
          <p:grpSpPr>
            <a:xfrm>
              <a:off x="7439026" y="3729446"/>
              <a:ext cx="630238" cy="126206"/>
              <a:chOff x="7439026" y="4391025"/>
              <a:chExt cx="630238" cy="168275"/>
            </a:xfrm>
            <a:solidFill>
              <a:schemeClr val="accent5"/>
            </a:solidFill>
          </p:grpSpPr>
          <p:sp>
            <p:nvSpPr>
              <p:cNvPr id="146" name="Freeform 103"/>
              <p:cNvSpPr>
                <a:spLocks/>
              </p:cNvSpPr>
              <p:nvPr/>
            </p:nvSpPr>
            <p:spPr bwMode="auto">
              <a:xfrm>
                <a:off x="7439026" y="4391025"/>
                <a:ext cx="133350" cy="11906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2" y="0"/>
                  </a:cxn>
                  <a:cxn ang="0">
                    <a:pos x="20" y="21"/>
                  </a:cxn>
                  <a:cxn ang="0">
                    <a:pos x="23" y="33"/>
                  </a:cxn>
                  <a:cxn ang="0">
                    <a:pos x="24" y="33"/>
                  </a:cxn>
                  <a:cxn ang="0">
                    <a:pos x="29" y="18"/>
                  </a:cxn>
                  <a:cxn ang="0">
                    <a:pos x="35" y="0"/>
                  </a:cxn>
                  <a:cxn ang="0">
                    <a:pos x="45" y="0"/>
                  </a:cxn>
                  <a:cxn ang="0">
                    <a:pos x="47" y="42"/>
                  </a:cxn>
                  <a:cxn ang="0">
                    <a:pos x="40" y="42"/>
                  </a:cxn>
                  <a:cxn ang="0">
                    <a:pos x="39" y="22"/>
                  </a:cxn>
                  <a:cxn ang="0">
                    <a:pos x="39" y="7"/>
                  </a:cxn>
                  <a:cxn ang="0">
                    <a:pos x="38" y="7"/>
                  </a:cxn>
                  <a:cxn ang="0">
                    <a:pos x="34" y="21"/>
                  </a:cxn>
                  <a:cxn ang="0">
                    <a:pos x="26" y="42"/>
                  </a:cxn>
                  <a:cxn ang="0">
                    <a:pos x="20" y="42"/>
                  </a:cxn>
                  <a:cxn ang="0">
                    <a:pos x="13" y="21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8" y="22"/>
                  </a:cxn>
                  <a:cxn ang="0">
                    <a:pos x="7" y="42"/>
                  </a:cxn>
                  <a:cxn ang="0">
                    <a:pos x="0" y="42"/>
                  </a:cxn>
                  <a:cxn ang="0">
                    <a:pos x="3" y="0"/>
                  </a:cxn>
                </a:cxnLst>
                <a:rect l="0" t="0" r="r" b="b"/>
                <a:pathLst>
                  <a:path w="47" h="42">
                    <a:moveTo>
                      <a:pt x="3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21" y="24"/>
                      <a:pt x="23" y="29"/>
                      <a:pt x="23" y="33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25" y="29"/>
                      <a:pt x="27" y="23"/>
                      <a:pt x="29" y="18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7" y="42"/>
                      <a:pt x="47" y="42"/>
                      <a:pt x="47" y="42"/>
                    </a:cubicBezTo>
                    <a:cubicBezTo>
                      <a:pt x="40" y="42"/>
                      <a:pt x="40" y="42"/>
                      <a:pt x="40" y="42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39" y="18"/>
                      <a:pt x="39" y="12"/>
                      <a:pt x="39" y="7"/>
                    </a:cubicBezTo>
                    <a:cubicBezTo>
                      <a:pt x="38" y="7"/>
                      <a:pt x="38" y="7"/>
                      <a:pt x="38" y="7"/>
                    </a:cubicBezTo>
                    <a:cubicBezTo>
                      <a:pt x="37" y="11"/>
                      <a:pt x="36" y="14"/>
                      <a:pt x="34" y="21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2" y="17"/>
                      <a:pt x="10" y="11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8" y="12"/>
                      <a:pt x="8" y="18"/>
                      <a:pt x="8" y="22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0" y="42"/>
                      <a:pt x="0" y="42"/>
                      <a:pt x="0" y="42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04"/>
              <p:cNvSpPr>
                <a:spLocks noEditPoints="1"/>
              </p:cNvSpPr>
              <p:nvPr/>
            </p:nvSpPr>
            <p:spPr bwMode="auto">
              <a:xfrm>
                <a:off x="7593013" y="4391025"/>
                <a:ext cx="104775" cy="122238"/>
              </a:xfrm>
              <a:custGeom>
                <a:avLst/>
                <a:gdLst/>
                <a:ahLst/>
                <a:cxnLst>
                  <a:cxn ang="0">
                    <a:pos x="7" y="22"/>
                  </a:cxn>
                  <a:cxn ang="0">
                    <a:pos x="22" y="37"/>
                  </a:cxn>
                  <a:cxn ang="0">
                    <a:pos x="33" y="35"/>
                  </a:cxn>
                  <a:cxn ang="0">
                    <a:pos x="34" y="40"/>
                  </a:cxn>
                  <a:cxn ang="0">
                    <a:pos x="21" y="43"/>
                  </a:cxn>
                  <a:cxn ang="0">
                    <a:pos x="0" y="22"/>
                  </a:cxn>
                  <a:cxn ang="0">
                    <a:pos x="20" y="0"/>
                  </a:cxn>
                  <a:cxn ang="0">
                    <a:pos x="37" y="19"/>
                  </a:cxn>
                  <a:cxn ang="0">
                    <a:pos x="36" y="22"/>
                  </a:cxn>
                  <a:cxn ang="0">
                    <a:pos x="7" y="22"/>
                  </a:cxn>
                  <a:cxn ang="0">
                    <a:pos x="29" y="17"/>
                  </a:cxn>
                  <a:cxn ang="0">
                    <a:pos x="19" y="5"/>
                  </a:cxn>
                  <a:cxn ang="0">
                    <a:pos x="7" y="17"/>
                  </a:cxn>
                  <a:cxn ang="0">
                    <a:pos x="29" y="17"/>
                  </a:cxn>
                </a:cxnLst>
                <a:rect l="0" t="0" r="r" b="b"/>
                <a:pathLst>
                  <a:path w="37" h="43">
                    <a:moveTo>
                      <a:pt x="7" y="22"/>
                    </a:moveTo>
                    <a:cubicBezTo>
                      <a:pt x="8" y="33"/>
                      <a:pt x="14" y="37"/>
                      <a:pt x="22" y="37"/>
                    </a:cubicBezTo>
                    <a:cubicBezTo>
                      <a:pt x="27" y="37"/>
                      <a:pt x="30" y="36"/>
                      <a:pt x="33" y="35"/>
                    </a:cubicBezTo>
                    <a:cubicBezTo>
                      <a:pt x="34" y="40"/>
                      <a:pt x="34" y="40"/>
                      <a:pt x="34" y="40"/>
                    </a:cubicBezTo>
                    <a:cubicBezTo>
                      <a:pt x="32" y="41"/>
                      <a:pt x="27" y="43"/>
                      <a:pt x="21" y="43"/>
                    </a:cubicBezTo>
                    <a:cubicBezTo>
                      <a:pt x="8" y="43"/>
                      <a:pt x="0" y="34"/>
                      <a:pt x="0" y="22"/>
                    </a:cubicBezTo>
                    <a:cubicBezTo>
                      <a:pt x="0" y="9"/>
                      <a:pt x="8" y="0"/>
                      <a:pt x="20" y="0"/>
                    </a:cubicBezTo>
                    <a:cubicBezTo>
                      <a:pt x="33" y="0"/>
                      <a:pt x="37" y="11"/>
                      <a:pt x="37" y="19"/>
                    </a:cubicBezTo>
                    <a:cubicBezTo>
                      <a:pt x="37" y="21"/>
                      <a:pt x="37" y="22"/>
                      <a:pt x="36" y="22"/>
                    </a:cubicBezTo>
                    <a:lnTo>
                      <a:pt x="7" y="22"/>
                    </a:lnTo>
                    <a:close/>
                    <a:moveTo>
                      <a:pt x="29" y="17"/>
                    </a:moveTo>
                    <a:cubicBezTo>
                      <a:pt x="30" y="12"/>
                      <a:pt x="27" y="5"/>
                      <a:pt x="19" y="5"/>
                    </a:cubicBezTo>
                    <a:cubicBezTo>
                      <a:pt x="11" y="5"/>
                      <a:pt x="8" y="12"/>
                      <a:pt x="7" y="17"/>
                    </a:cubicBezTo>
                    <a:lnTo>
                      <a:pt x="29" y="1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05"/>
              <p:cNvSpPr>
                <a:spLocks noEditPoints="1"/>
              </p:cNvSpPr>
              <p:nvPr/>
            </p:nvSpPr>
            <p:spPr bwMode="auto">
              <a:xfrm>
                <a:off x="7723188" y="4391025"/>
                <a:ext cx="111125" cy="168275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22" y="0"/>
                  </a:cxn>
                  <a:cxn ang="0">
                    <a:pos x="39" y="21"/>
                  </a:cxn>
                  <a:cxn ang="0">
                    <a:pos x="20" y="43"/>
                  </a:cxn>
                  <a:cxn ang="0">
                    <a:pos x="8" y="36"/>
                  </a:cxn>
                  <a:cxn ang="0">
                    <a:pos x="7" y="36"/>
                  </a:cxn>
                  <a:cxn ang="0">
                    <a:pos x="7" y="59"/>
                  </a:cxn>
                  <a:cxn ang="0">
                    <a:pos x="0" y="59"/>
                  </a:cxn>
                  <a:cxn ang="0">
                    <a:pos x="0" y="14"/>
                  </a:cxn>
                  <a:cxn ang="0">
                    <a:pos x="7" y="25"/>
                  </a:cxn>
                  <a:cxn ang="0">
                    <a:pos x="8" y="28"/>
                  </a:cxn>
                  <a:cxn ang="0">
                    <a:pos x="19" y="37"/>
                  </a:cxn>
                  <a:cxn ang="0">
                    <a:pos x="32" y="21"/>
                  </a:cxn>
                  <a:cxn ang="0">
                    <a:pos x="19" y="6"/>
                  </a:cxn>
                  <a:cxn ang="0">
                    <a:pos x="8" y="15"/>
                  </a:cxn>
                  <a:cxn ang="0">
                    <a:pos x="7" y="18"/>
                  </a:cxn>
                  <a:cxn ang="0">
                    <a:pos x="7" y="25"/>
                  </a:cxn>
                </a:cxnLst>
                <a:rect l="0" t="0" r="r" b="b"/>
                <a:pathLst>
                  <a:path w="39" h="59">
                    <a:moveTo>
                      <a:pt x="0" y="14"/>
                    </a:moveTo>
                    <a:cubicBezTo>
                      <a:pt x="0" y="9"/>
                      <a:pt x="0" y="4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10" y="2"/>
                      <a:pt x="15" y="0"/>
                      <a:pt x="22" y="0"/>
                    </a:cubicBezTo>
                    <a:cubicBezTo>
                      <a:pt x="32" y="0"/>
                      <a:pt x="39" y="8"/>
                      <a:pt x="39" y="21"/>
                    </a:cubicBezTo>
                    <a:cubicBezTo>
                      <a:pt x="39" y="35"/>
                      <a:pt x="30" y="43"/>
                      <a:pt x="20" y="43"/>
                    </a:cubicBezTo>
                    <a:cubicBezTo>
                      <a:pt x="15" y="43"/>
                      <a:pt x="10" y="40"/>
                      <a:pt x="8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14"/>
                      <a:pt x="0" y="14"/>
                      <a:pt x="0" y="14"/>
                    </a:cubicBezTo>
                    <a:close/>
                    <a:moveTo>
                      <a:pt x="7" y="25"/>
                    </a:moveTo>
                    <a:cubicBezTo>
                      <a:pt x="7" y="26"/>
                      <a:pt x="8" y="27"/>
                      <a:pt x="8" y="28"/>
                    </a:cubicBezTo>
                    <a:cubicBezTo>
                      <a:pt x="9" y="33"/>
                      <a:pt x="14" y="37"/>
                      <a:pt x="19" y="37"/>
                    </a:cubicBezTo>
                    <a:cubicBezTo>
                      <a:pt x="27" y="37"/>
                      <a:pt x="32" y="30"/>
                      <a:pt x="32" y="21"/>
                    </a:cubicBezTo>
                    <a:cubicBezTo>
                      <a:pt x="32" y="13"/>
                      <a:pt x="27" y="6"/>
                      <a:pt x="19" y="6"/>
                    </a:cubicBezTo>
                    <a:cubicBezTo>
                      <a:pt x="14" y="6"/>
                      <a:pt x="9" y="9"/>
                      <a:pt x="8" y="15"/>
                    </a:cubicBezTo>
                    <a:cubicBezTo>
                      <a:pt x="8" y="16"/>
                      <a:pt x="7" y="17"/>
                      <a:pt x="7" y="18"/>
                    </a:cubicBezTo>
                    <a:lnTo>
                      <a:pt x="7" y="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06"/>
              <p:cNvSpPr>
                <a:spLocks/>
              </p:cNvSpPr>
              <p:nvPr/>
            </p:nvSpPr>
            <p:spPr bwMode="auto">
              <a:xfrm>
                <a:off x="7853363" y="4391025"/>
                <a:ext cx="90488" cy="122238"/>
              </a:xfrm>
              <a:custGeom>
                <a:avLst/>
                <a:gdLst/>
                <a:ahLst/>
                <a:cxnLst>
                  <a:cxn ang="0">
                    <a:pos x="32" y="40"/>
                  </a:cxn>
                  <a:cxn ang="0">
                    <a:pos x="20" y="43"/>
                  </a:cxn>
                  <a:cxn ang="0">
                    <a:pos x="0" y="22"/>
                  </a:cxn>
                  <a:cxn ang="0">
                    <a:pos x="22" y="0"/>
                  </a:cxn>
                  <a:cxn ang="0">
                    <a:pos x="32" y="2"/>
                  </a:cxn>
                  <a:cxn ang="0">
                    <a:pos x="31" y="8"/>
                  </a:cxn>
                  <a:cxn ang="0">
                    <a:pos x="22" y="6"/>
                  </a:cxn>
                  <a:cxn ang="0">
                    <a:pos x="7" y="21"/>
                  </a:cxn>
                  <a:cxn ang="0">
                    <a:pos x="22" y="37"/>
                  </a:cxn>
                  <a:cxn ang="0">
                    <a:pos x="31" y="35"/>
                  </a:cxn>
                  <a:cxn ang="0">
                    <a:pos x="32" y="40"/>
                  </a:cxn>
                </a:cxnLst>
                <a:rect l="0" t="0" r="r" b="b"/>
                <a:pathLst>
                  <a:path w="32" h="43">
                    <a:moveTo>
                      <a:pt x="32" y="40"/>
                    </a:moveTo>
                    <a:cubicBezTo>
                      <a:pt x="30" y="41"/>
                      <a:pt x="26" y="43"/>
                      <a:pt x="20" y="43"/>
                    </a:cubicBezTo>
                    <a:cubicBezTo>
                      <a:pt x="8" y="43"/>
                      <a:pt x="0" y="34"/>
                      <a:pt x="0" y="22"/>
                    </a:cubicBezTo>
                    <a:cubicBezTo>
                      <a:pt x="0" y="9"/>
                      <a:pt x="8" y="0"/>
                      <a:pt x="22" y="0"/>
                    </a:cubicBezTo>
                    <a:cubicBezTo>
                      <a:pt x="26" y="0"/>
                      <a:pt x="30" y="1"/>
                      <a:pt x="32" y="2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29" y="7"/>
                      <a:pt x="26" y="6"/>
                      <a:pt x="22" y="6"/>
                    </a:cubicBezTo>
                    <a:cubicBezTo>
                      <a:pt x="12" y="6"/>
                      <a:pt x="7" y="13"/>
                      <a:pt x="7" y="21"/>
                    </a:cubicBezTo>
                    <a:cubicBezTo>
                      <a:pt x="7" y="31"/>
                      <a:pt x="13" y="37"/>
                      <a:pt x="22" y="37"/>
                    </a:cubicBezTo>
                    <a:cubicBezTo>
                      <a:pt x="26" y="37"/>
                      <a:pt x="29" y="36"/>
                      <a:pt x="31" y="35"/>
                    </a:cubicBezTo>
                    <a:lnTo>
                      <a:pt x="32" y="4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07"/>
              <p:cNvSpPr>
                <a:spLocks/>
              </p:cNvSpPr>
              <p:nvPr/>
            </p:nvSpPr>
            <p:spPr bwMode="auto">
              <a:xfrm>
                <a:off x="7969251" y="4391025"/>
                <a:ext cx="100013" cy="119063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7" y="18"/>
                  </a:cxn>
                  <a:cxn ang="0">
                    <a:pos x="6" y="34"/>
                  </a:cxn>
                  <a:cxn ang="0">
                    <a:pos x="7" y="35"/>
                  </a:cxn>
                  <a:cxn ang="0">
                    <a:pos x="13" y="22"/>
                  </a:cxn>
                  <a:cxn ang="0">
                    <a:pos x="26" y="0"/>
                  </a:cxn>
                  <a:cxn ang="0">
                    <a:pos x="35" y="0"/>
                  </a:cxn>
                  <a:cxn ang="0">
                    <a:pos x="35" y="42"/>
                  </a:cxn>
                  <a:cxn ang="0">
                    <a:pos x="28" y="42"/>
                  </a:cxn>
                  <a:cxn ang="0">
                    <a:pos x="28" y="24"/>
                  </a:cxn>
                  <a:cxn ang="0">
                    <a:pos x="29" y="7"/>
                  </a:cxn>
                  <a:cxn ang="0">
                    <a:pos x="28" y="7"/>
                  </a:cxn>
                  <a:cxn ang="0">
                    <a:pos x="21" y="20"/>
                  </a:cxn>
                  <a:cxn ang="0">
                    <a:pos x="8" y="42"/>
                  </a:cxn>
                  <a:cxn ang="0">
                    <a:pos x="0" y="42"/>
                  </a:cxn>
                  <a:cxn ang="0">
                    <a:pos x="0" y="0"/>
                  </a:cxn>
                  <a:cxn ang="0">
                    <a:pos x="7" y="0"/>
                  </a:cxn>
                </a:cxnLst>
                <a:rect l="0" t="0" r="r" b="b"/>
                <a:pathLst>
                  <a:path w="35" h="42">
                    <a:moveTo>
                      <a:pt x="7" y="0"/>
                    </a:moveTo>
                    <a:cubicBezTo>
                      <a:pt x="7" y="18"/>
                      <a:pt x="7" y="18"/>
                      <a:pt x="7" y="18"/>
                    </a:cubicBezTo>
                    <a:cubicBezTo>
                      <a:pt x="7" y="24"/>
                      <a:pt x="7" y="29"/>
                      <a:pt x="6" y="34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9" y="29"/>
                      <a:pt x="11" y="27"/>
                      <a:pt x="13" y="22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42"/>
                      <a:pt x="35" y="42"/>
                      <a:pt x="35" y="42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28" y="18"/>
                      <a:pt x="28" y="14"/>
                      <a:pt x="29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6" y="13"/>
                      <a:pt x="24" y="16"/>
                      <a:pt x="21" y="20"/>
                    </a:cubicBezTo>
                    <a:cubicBezTo>
                      <a:pt x="17" y="27"/>
                      <a:pt x="13" y="35"/>
                      <a:pt x="8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0" name="Gruppieren 168"/>
            <p:cNvGrpSpPr/>
            <p:nvPr/>
          </p:nvGrpSpPr>
          <p:grpSpPr>
            <a:xfrm>
              <a:off x="5238751" y="3780643"/>
              <a:ext cx="184150" cy="666750"/>
              <a:chOff x="5238751" y="4459288"/>
              <a:chExt cx="184150" cy="889000"/>
            </a:xfrm>
            <a:solidFill>
              <a:schemeClr val="accent5"/>
            </a:solidFill>
          </p:grpSpPr>
          <p:sp>
            <p:nvSpPr>
              <p:cNvPr id="137" name="Freeform 108"/>
              <p:cNvSpPr>
                <a:spLocks/>
              </p:cNvSpPr>
              <p:nvPr/>
            </p:nvSpPr>
            <p:spPr bwMode="auto">
              <a:xfrm>
                <a:off x="5278438" y="5272088"/>
                <a:ext cx="104775" cy="76200"/>
              </a:xfrm>
              <a:custGeom>
                <a:avLst/>
                <a:gdLst/>
                <a:ahLst/>
                <a:cxnLst>
                  <a:cxn ang="0">
                    <a:pos x="17" y="19"/>
                  </a:cxn>
                  <a:cxn ang="0">
                    <a:pos x="10" y="26"/>
                  </a:cxn>
                  <a:cxn ang="0">
                    <a:pos x="0" y="12"/>
                  </a:cxn>
                  <a:cxn ang="0">
                    <a:pos x="3" y="1"/>
                  </a:cxn>
                  <a:cxn ang="0">
                    <a:pos x="7" y="2"/>
                  </a:cxn>
                  <a:cxn ang="0">
                    <a:pos x="5" y="11"/>
                  </a:cxn>
                  <a:cxn ang="0">
                    <a:pos x="10" y="19"/>
                  </a:cxn>
                  <a:cxn ang="0">
                    <a:pos x="15" y="9"/>
                  </a:cxn>
                  <a:cxn ang="0">
                    <a:pos x="15" y="5"/>
                  </a:cxn>
                  <a:cxn ang="0">
                    <a:pos x="20" y="5"/>
                  </a:cxn>
                  <a:cxn ang="0">
                    <a:pos x="20" y="10"/>
                  </a:cxn>
                  <a:cxn ang="0">
                    <a:pos x="26" y="21"/>
                  </a:cxn>
                  <a:cxn ang="0">
                    <a:pos x="32" y="11"/>
                  </a:cxn>
                  <a:cxn ang="0">
                    <a:pos x="29" y="1"/>
                  </a:cxn>
                  <a:cxn ang="0">
                    <a:pos x="34" y="0"/>
                  </a:cxn>
                  <a:cxn ang="0">
                    <a:pos x="37" y="13"/>
                  </a:cxn>
                  <a:cxn ang="0">
                    <a:pos x="26" y="27"/>
                  </a:cxn>
                  <a:cxn ang="0">
                    <a:pos x="17" y="19"/>
                  </a:cxn>
                  <a:cxn ang="0">
                    <a:pos x="17" y="19"/>
                  </a:cxn>
                </a:cxnLst>
                <a:rect l="0" t="0" r="r" b="b"/>
                <a:pathLst>
                  <a:path w="37" h="27">
                    <a:moveTo>
                      <a:pt x="17" y="19"/>
                    </a:moveTo>
                    <a:cubicBezTo>
                      <a:pt x="16" y="23"/>
                      <a:pt x="13" y="25"/>
                      <a:pt x="10" y="26"/>
                    </a:cubicBezTo>
                    <a:cubicBezTo>
                      <a:pt x="5" y="26"/>
                      <a:pt x="0" y="21"/>
                      <a:pt x="0" y="12"/>
                    </a:cubicBezTo>
                    <a:cubicBezTo>
                      <a:pt x="0" y="7"/>
                      <a:pt x="1" y="4"/>
                      <a:pt x="3" y="1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6" y="4"/>
                      <a:pt x="5" y="8"/>
                      <a:pt x="5" y="11"/>
                    </a:cubicBezTo>
                    <a:cubicBezTo>
                      <a:pt x="5" y="16"/>
                      <a:pt x="7" y="19"/>
                      <a:pt x="10" y="19"/>
                    </a:cubicBezTo>
                    <a:cubicBezTo>
                      <a:pt x="14" y="19"/>
                      <a:pt x="15" y="15"/>
                      <a:pt x="15" y="9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6"/>
                      <a:pt x="21" y="21"/>
                      <a:pt x="26" y="21"/>
                    </a:cubicBezTo>
                    <a:cubicBezTo>
                      <a:pt x="30" y="21"/>
                      <a:pt x="32" y="16"/>
                      <a:pt x="32" y="11"/>
                    </a:cubicBezTo>
                    <a:cubicBezTo>
                      <a:pt x="32" y="7"/>
                      <a:pt x="31" y="3"/>
                      <a:pt x="29" y="1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2"/>
                      <a:pt x="37" y="8"/>
                      <a:pt x="37" y="13"/>
                    </a:cubicBezTo>
                    <a:cubicBezTo>
                      <a:pt x="37" y="20"/>
                      <a:pt x="34" y="27"/>
                      <a:pt x="26" y="27"/>
                    </a:cubicBezTo>
                    <a:cubicBezTo>
                      <a:pt x="22" y="27"/>
                      <a:pt x="18" y="24"/>
                      <a:pt x="17" y="19"/>
                    </a:cubicBezTo>
                    <a:cubicBezTo>
                      <a:pt x="17" y="19"/>
                      <a:pt x="17" y="19"/>
                      <a:pt x="17" y="1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09"/>
              <p:cNvSpPr>
                <a:spLocks/>
              </p:cNvSpPr>
              <p:nvPr/>
            </p:nvSpPr>
            <p:spPr bwMode="auto">
              <a:xfrm>
                <a:off x="5281613" y="5170488"/>
                <a:ext cx="101600" cy="8413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4" y="0"/>
                  </a:cxn>
                  <a:cxn ang="0">
                    <a:pos x="36" y="16"/>
                  </a:cxn>
                  <a:cxn ang="0">
                    <a:pos x="22" y="29"/>
                  </a:cxn>
                  <a:cxn ang="0">
                    <a:pos x="12" y="29"/>
                  </a:cxn>
                  <a:cxn ang="0">
                    <a:pos x="0" y="30"/>
                  </a:cxn>
                  <a:cxn ang="0">
                    <a:pos x="0" y="24"/>
                  </a:cxn>
                  <a:cxn ang="0">
                    <a:pos x="7" y="23"/>
                  </a:cxn>
                  <a:cxn ang="0">
                    <a:pos x="21" y="23"/>
                  </a:cxn>
                  <a:cxn ang="0">
                    <a:pos x="31" y="15"/>
                  </a:cxn>
                  <a:cxn ang="0">
                    <a:pos x="14" y="6"/>
                  </a:cxn>
                  <a:cxn ang="0">
                    <a:pos x="0" y="8"/>
                  </a:cxn>
                  <a:cxn ang="0">
                    <a:pos x="0" y="2"/>
                  </a:cxn>
                </a:cxnLst>
                <a:rect l="0" t="0" r="r" b="b"/>
                <a:pathLst>
                  <a:path w="36" h="30">
                    <a:moveTo>
                      <a:pt x="0" y="2"/>
                    </a:moveTo>
                    <a:cubicBezTo>
                      <a:pt x="2" y="1"/>
                      <a:pt x="8" y="0"/>
                      <a:pt x="14" y="0"/>
                    </a:cubicBezTo>
                    <a:cubicBezTo>
                      <a:pt x="24" y="0"/>
                      <a:pt x="36" y="3"/>
                      <a:pt x="36" y="16"/>
                    </a:cubicBezTo>
                    <a:cubicBezTo>
                      <a:pt x="36" y="23"/>
                      <a:pt x="31" y="29"/>
                      <a:pt x="22" y="29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6" y="29"/>
                      <a:pt x="2" y="30"/>
                      <a:pt x="0" y="3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" y="24"/>
                      <a:pt x="3" y="23"/>
                      <a:pt x="7" y="23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8" y="23"/>
                      <a:pt x="31" y="19"/>
                      <a:pt x="31" y="15"/>
                    </a:cubicBezTo>
                    <a:cubicBezTo>
                      <a:pt x="31" y="9"/>
                      <a:pt x="24" y="6"/>
                      <a:pt x="14" y="6"/>
                    </a:cubicBezTo>
                    <a:cubicBezTo>
                      <a:pt x="8" y="6"/>
                      <a:pt x="2" y="7"/>
                      <a:pt x="0" y="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10"/>
              <p:cNvSpPr>
                <a:spLocks/>
              </p:cNvSpPr>
              <p:nvPr/>
            </p:nvSpPr>
            <p:spPr bwMode="auto">
              <a:xfrm>
                <a:off x="5281613" y="5068888"/>
                <a:ext cx="141288" cy="90488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19" y="15"/>
                  </a:cxn>
                  <a:cxn ang="0">
                    <a:pos x="19" y="15"/>
                  </a:cxn>
                  <a:cxn ang="0">
                    <a:pos x="11" y="12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24" y="12"/>
                  </a:cxn>
                  <a:cxn ang="0">
                    <a:pos x="49" y="0"/>
                  </a:cxn>
                  <a:cxn ang="0">
                    <a:pos x="50" y="6"/>
                  </a:cxn>
                  <a:cxn ang="0">
                    <a:pos x="29" y="16"/>
                  </a:cxn>
                  <a:cxn ang="0">
                    <a:pos x="29" y="16"/>
                  </a:cxn>
                  <a:cxn ang="0">
                    <a:pos x="36" y="20"/>
                  </a:cxn>
                  <a:cxn ang="0">
                    <a:pos x="50" y="26"/>
                  </a:cxn>
                  <a:cxn ang="0">
                    <a:pos x="49" y="32"/>
                  </a:cxn>
                  <a:cxn ang="0">
                    <a:pos x="24" y="19"/>
                  </a:cxn>
                  <a:cxn ang="0">
                    <a:pos x="0" y="31"/>
                  </a:cxn>
                  <a:cxn ang="0">
                    <a:pos x="0" y="24"/>
                  </a:cxn>
                </a:cxnLst>
                <a:rect l="0" t="0" r="r" b="b"/>
                <a:pathLst>
                  <a:path w="50" h="32">
                    <a:moveTo>
                      <a:pt x="0" y="24"/>
                    </a:move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7" y="14"/>
                      <a:pt x="14" y="13"/>
                      <a:pt x="11" y="1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31" y="17"/>
                      <a:pt x="34" y="18"/>
                      <a:pt x="36" y="20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49" y="32"/>
                      <a:pt x="49" y="32"/>
                      <a:pt x="49" y="32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0" y="24"/>
                      <a:pt x="0" y="2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11"/>
              <p:cNvSpPr>
                <a:spLocks noEditPoints="1"/>
              </p:cNvSpPr>
              <p:nvPr/>
            </p:nvSpPr>
            <p:spPr bwMode="auto">
              <a:xfrm>
                <a:off x="5278438" y="4964113"/>
                <a:ext cx="104775" cy="98425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26" y="3"/>
                  </a:cxn>
                  <a:cxn ang="0">
                    <a:pos x="32" y="0"/>
                  </a:cxn>
                  <a:cxn ang="0">
                    <a:pos x="37" y="1"/>
                  </a:cxn>
                  <a:cxn ang="0">
                    <a:pos x="37" y="3"/>
                  </a:cxn>
                  <a:cxn ang="0">
                    <a:pos x="29" y="9"/>
                  </a:cxn>
                  <a:cxn ang="0">
                    <a:pos x="29" y="9"/>
                  </a:cxn>
                  <a:cxn ang="0">
                    <a:pos x="37" y="21"/>
                  </a:cxn>
                  <a:cxn ang="0">
                    <a:pos x="19" y="35"/>
                  </a:cxn>
                  <a:cxn ang="0">
                    <a:pos x="0" y="20"/>
                  </a:cxn>
                  <a:cxn ang="0">
                    <a:pos x="7" y="9"/>
                  </a:cxn>
                  <a:cxn ang="0">
                    <a:pos x="7" y="8"/>
                  </a:cxn>
                  <a:cxn ang="0">
                    <a:pos x="1" y="8"/>
                  </a:cxn>
                  <a:cxn ang="0">
                    <a:pos x="1" y="3"/>
                  </a:cxn>
                  <a:cxn ang="0">
                    <a:pos x="19" y="29"/>
                  </a:cxn>
                  <a:cxn ang="0">
                    <a:pos x="32" y="19"/>
                  </a:cxn>
                  <a:cxn ang="0">
                    <a:pos x="23" y="10"/>
                  </a:cxn>
                  <a:cxn ang="0">
                    <a:pos x="18" y="9"/>
                  </a:cxn>
                  <a:cxn ang="0">
                    <a:pos x="14" y="10"/>
                  </a:cxn>
                  <a:cxn ang="0">
                    <a:pos x="5" y="19"/>
                  </a:cxn>
                  <a:cxn ang="0">
                    <a:pos x="19" y="29"/>
                  </a:cxn>
                </a:cxnLst>
                <a:rect l="0" t="0" r="r" b="b"/>
                <a:pathLst>
                  <a:path w="37" h="35">
                    <a:moveTo>
                      <a:pt x="1" y="3"/>
                    </a:moveTo>
                    <a:cubicBezTo>
                      <a:pt x="5" y="3"/>
                      <a:pt x="17" y="3"/>
                      <a:pt x="26" y="3"/>
                    </a:cubicBezTo>
                    <a:cubicBezTo>
                      <a:pt x="30" y="3"/>
                      <a:pt x="32" y="2"/>
                      <a:pt x="32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"/>
                      <a:pt x="37" y="2"/>
                      <a:pt x="37" y="3"/>
                    </a:cubicBezTo>
                    <a:cubicBezTo>
                      <a:pt x="37" y="6"/>
                      <a:pt x="35" y="8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ubicBezTo>
                      <a:pt x="34" y="11"/>
                      <a:pt x="37" y="15"/>
                      <a:pt x="37" y="21"/>
                    </a:cubicBezTo>
                    <a:cubicBezTo>
                      <a:pt x="37" y="29"/>
                      <a:pt x="30" y="35"/>
                      <a:pt x="19" y="35"/>
                    </a:cubicBezTo>
                    <a:cubicBezTo>
                      <a:pt x="8" y="35"/>
                      <a:pt x="0" y="28"/>
                      <a:pt x="0" y="20"/>
                    </a:cubicBezTo>
                    <a:cubicBezTo>
                      <a:pt x="0" y="14"/>
                      <a:pt x="3" y="11"/>
                      <a:pt x="7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5" y="8"/>
                      <a:pt x="3" y="8"/>
                      <a:pt x="1" y="8"/>
                    </a:cubicBezTo>
                    <a:cubicBezTo>
                      <a:pt x="1" y="3"/>
                      <a:pt x="1" y="3"/>
                      <a:pt x="1" y="3"/>
                    </a:cubicBezTo>
                    <a:close/>
                    <a:moveTo>
                      <a:pt x="19" y="29"/>
                    </a:moveTo>
                    <a:cubicBezTo>
                      <a:pt x="26" y="29"/>
                      <a:pt x="32" y="25"/>
                      <a:pt x="32" y="19"/>
                    </a:cubicBezTo>
                    <a:cubicBezTo>
                      <a:pt x="32" y="15"/>
                      <a:pt x="28" y="11"/>
                      <a:pt x="23" y="10"/>
                    </a:cubicBezTo>
                    <a:cubicBezTo>
                      <a:pt x="21" y="10"/>
                      <a:pt x="20" y="9"/>
                      <a:pt x="18" y="9"/>
                    </a:cubicBezTo>
                    <a:cubicBezTo>
                      <a:pt x="17" y="9"/>
                      <a:pt x="15" y="9"/>
                      <a:pt x="14" y="10"/>
                    </a:cubicBezTo>
                    <a:cubicBezTo>
                      <a:pt x="10" y="11"/>
                      <a:pt x="5" y="14"/>
                      <a:pt x="5" y="19"/>
                    </a:cubicBezTo>
                    <a:cubicBezTo>
                      <a:pt x="5" y="25"/>
                      <a:pt x="11" y="29"/>
                      <a:pt x="19" y="2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12"/>
              <p:cNvSpPr>
                <a:spLocks noEditPoints="1"/>
              </p:cNvSpPr>
              <p:nvPr/>
            </p:nvSpPr>
            <p:spPr bwMode="auto">
              <a:xfrm>
                <a:off x="5278438" y="4852988"/>
                <a:ext cx="141288" cy="93663"/>
              </a:xfrm>
              <a:custGeom>
                <a:avLst/>
                <a:gdLst/>
                <a:ahLst/>
                <a:cxnLst>
                  <a:cxn ang="0">
                    <a:pos x="32" y="26"/>
                  </a:cxn>
                  <a:cxn ang="0">
                    <a:pos x="37" y="26"/>
                  </a:cxn>
                  <a:cxn ang="0">
                    <a:pos x="50" y="26"/>
                  </a:cxn>
                  <a:cxn ang="0">
                    <a:pos x="50" y="32"/>
                  </a:cxn>
                  <a:cxn ang="0">
                    <a:pos x="38" y="33"/>
                  </a:cxn>
                  <a:cxn ang="0">
                    <a:pos x="21" y="33"/>
                  </a:cxn>
                  <a:cxn ang="0">
                    <a:pos x="5" y="28"/>
                  </a:cxn>
                  <a:cxn ang="0">
                    <a:pos x="0" y="16"/>
                  </a:cxn>
                  <a:cxn ang="0">
                    <a:pos x="18" y="0"/>
                  </a:cxn>
                  <a:cxn ang="0">
                    <a:pos x="37" y="16"/>
                  </a:cxn>
                  <a:cxn ang="0">
                    <a:pos x="32" y="26"/>
                  </a:cxn>
                  <a:cxn ang="0">
                    <a:pos x="32" y="26"/>
                  </a:cxn>
                  <a:cxn ang="0">
                    <a:pos x="22" y="26"/>
                  </a:cxn>
                  <a:cxn ang="0">
                    <a:pos x="25" y="26"/>
                  </a:cxn>
                  <a:cxn ang="0">
                    <a:pos x="32" y="17"/>
                  </a:cxn>
                  <a:cxn ang="0">
                    <a:pos x="18" y="6"/>
                  </a:cxn>
                  <a:cxn ang="0">
                    <a:pos x="6" y="16"/>
                  </a:cxn>
                  <a:cxn ang="0">
                    <a:pos x="19" y="26"/>
                  </a:cxn>
                  <a:cxn ang="0">
                    <a:pos x="22" y="26"/>
                  </a:cxn>
                </a:cxnLst>
                <a:rect l="0" t="0" r="r" b="b"/>
                <a:pathLst>
                  <a:path w="50" h="33">
                    <a:moveTo>
                      <a:pt x="32" y="26"/>
                    </a:moveTo>
                    <a:cubicBezTo>
                      <a:pt x="37" y="26"/>
                      <a:pt x="37" y="26"/>
                      <a:pt x="37" y="26"/>
                    </a:cubicBezTo>
                    <a:cubicBezTo>
                      <a:pt x="41" y="26"/>
                      <a:pt x="47" y="26"/>
                      <a:pt x="50" y="26"/>
                    </a:cubicBezTo>
                    <a:cubicBezTo>
                      <a:pt x="50" y="32"/>
                      <a:pt x="50" y="32"/>
                      <a:pt x="50" y="32"/>
                    </a:cubicBezTo>
                    <a:cubicBezTo>
                      <a:pt x="48" y="32"/>
                      <a:pt x="43" y="33"/>
                      <a:pt x="38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2" y="33"/>
                      <a:pt x="8" y="30"/>
                      <a:pt x="5" y="28"/>
                    </a:cubicBezTo>
                    <a:cubicBezTo>
                      <a:pt x="3" y="25"/>
                      <a:pt x="0" y="21"/>
                      <a:pt x="0" y="16"/>
                    </a:cubicBezTo>
                    <a:cubicBezTo>
                      <a:pt x="0" y="6"/>
                      <a:pt x="8" y="0"/>
                      <a:pt x="18" y="0"/>
                    </a:cubicBezTo>
                    <a:cubicBezTo>
                      <a:pt x="30" y="0"/>
                      <a:pt x="37" y="7"/>
                      <a:pt x="37" y="16"/>
                    </a:cubicBezTo>
                    <a:cubicBezTo>
                      <a:pt x="37" y="20"/>
                      <a:pt x="35" y="24"/>
                      <a:pt x="32" y="26"/>
                    </a:cubicBezTo>
                    <a:cubicBezTo>
                      <a:pt x="32" y="26"/>
                      <a:pt x="32" y="26"/>
                      <a:pt x="32" y="26"/>
                    </a:cubicBezTo>
                    <a:close/>
                    <a:moveTo>
                      <a:pt x="22" y="26"/>
                    </a:moveTo>
                    <a:cubicBezTo>
                      <a:pt x="23" y="26"/>
                      <a:pt x="24" y="26"/>
                      <a:pt x="25" y="26"/>
                    </a:cubicBezTo>
                    <a:cubicBezTo>
                      <a:pt x="29" y="25"/>
                      <a:pt x="32" y="21"/>
                      <a:pt x="32" y="17"/>
                    </a:cubicBezTo>
                    <a:cubicBezTo>
                      <a:pt x="32" y="10"/>
                      <a:pt x="26" y="6"/>
                      <a:pt x="18" y="6"/>
                    </a:cubicBezTo>
                    <a:cubicBezTo>
                      <a:pt x="11" y="6"/>
                      <a:pt x="6" y="10"/>
                      <a:pt x="6" y="16"/>
                    </a:cubicBezTo>
                    <a:cubicBezTo>
                      <a:pt x="6" y="21"/>
                      <a:pt x="10" y="26"/>
                      <a:pt x="19" y="26"/>
                    </a:cubicBezTo>
                    <a:cubicBezTo>
                      <a:pt x="22" y="26"/>
                      <a:pt x="22" y="26"/>
                      <a:pt x="22" y="2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13"/>
              <p:cNvSpPr>
                <a:spLocks/>
              </p:cNvSpPr>
              <p:nvPr/>
            </p:nvSpPr>
            <p:spPr bwMode="auto">
              <a:xfrm>
                <a:off x="5281613" y="4802188"/>
                <a:ext cx="101600" cy="28575"/>
              </a:xfrm>
              <a:custGeom>
                <a:avLst/>
                <a:gdLst/>
                <a:ahLst/>
                <a:cxnLst>
                  <a:cxn ang="0">
                    <a:pos x="27" y="3"/>
                  </a:cxn>
                  <a:cxn ang="0">
                    <a:pos x="31" y="0"/>
                  </a:cxn>
                  <a:cxn ang="0">
                    <a:pos x="35" y="0"/>
                  </a:cxn>
                  <a:cxn ang="0">
                    <a:pos x="36" y="3"/>
                  </a:cxn>
                  <a:cxn ang="0">
                    <a:pos x="27" y="10"/>
                  </a:cxn>
                  <a:cxn ang="0">
                    <a:pos x="0" y="10"/>
                  </a:cxn>
                  <a:cxn ang="0">
                    <a:pos x="0" y="3"/>
                  </a:cxn>
                  <a:cxn ang="0">
                    <a:pos x="27" y="3"/>
                  </a:cxn>
                </a:cxnLst>
                <a:rect l="0" t="0" r="r" b="b"/>
                <a:pathLst>
                  <a:path w="36" h="10">
                    <a:moveTo>
                      <a:pt x="27" y="3"/>
                    </a:moveTo>
                    <a:cubicBezTo>
                      <a:pt x="30" y="3"/>
                      <a:pt x="31" y="3"/>
                      <a:pt x="31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6" y="1"/>
                      <a:pt x="36" y="2"/>
                      <a:pt x="36" y="3"/>
                    </a:cubicBezTo>
                    <a:cubicBezTo>
                      <a:pt x="36" y="7"/>
                      <a:pt x="34" y="10"/>
                      <a:pt x="27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7" y="3"/>
                      <a:pt x="27" y="3"/>
                      <a:pt x="27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114"/>
              <p:cNvSpPr>
                <a:spLocks noEditPoints="1"/>
              </p:cNvSpPr>
              <p:nvPr/>
            </p:nvSpPr>
            <p:spPr bwMode="auto">
              <a:xfrm>
                <a:off x="5278438" y="4686300"/>
                <a:ext cx="104775" cy="101600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18" y="3"/>
                  </a:cxn>
                  <a:cxn ang="0">
                    <a:pos x="37" y="19"/>
                  </a:cxn>
                  <a:cxn ang="0">
                    <a:pos x="19" y="36"/>
                  </a:cxn>
                  <a:cxn ang="0">
                    <a:pos x="0" y="18"/>
                  </a:cxn>
                  <a:cxn ang="0">
                    <a:pos x="0" y="11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18" y="9"/>
                  </a:cxn>
                  <a:cxn ang="0">
                    <a:pos x="5" y="19"/>
                  </a:cxn>
                  <a:cxn ang="0">
                    <a:pos x="19" y="30"/>
                  </a:cxn>
                  <a:cxn ang="0">
                    <a:pos x="32" y="19"/>
                  </a:cxn>
                  <a:cxn ang="0">
                    <a:pos x="18" y="9"/>
                  </a:cxn>
                </a:cxnLst>
                <a:rect l="0" t="0" r="r" b="b"/>
                <a:pathLst>
                  <a:path w="37" h="36">
                    <a:moveTo>
                      <a:pt x="5" y="9"/>
                    </a:moveTo>
                    <a:cubicBezTo>
                      <a:pt x="8" y="5"/>
                      <a:pt x="13" y="3"/>
                      <a:pt x="18" y="3"/>
                    </a:cubicBezTo>
                    <a:cubicBezTo>
                      <a:pt x="31" y="3"/>
                      <a:pt x="37" y="11"/>
                      <a:pt x="37" y="19"/>
                    </a:cubicBezTo>
                    <a:cubicBezTo>
                      <a:pt x="37" y="29"/>
                      <a:pt x="30" y="36"/>
                      <a:pt x="19" y="36"/>
                    </a:cubicBezTo>
                    <a:cubicBezTo>
                      <a:pt x="7" y="36"/>
                      <a:pt x="0" y="29"/>
                      <a:pt x="0" y="18"/>
                    </a:cubicBezTo>
                    <a:cubicBezTo>
                      <a:pt x="0" y="16"/>
                      <a:pt x="0" y="12"/>
                      <a:pt x="0" y="1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5"/>
                      <a:pt x="0" y="1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2"/>
                      <a:pt x="5" y="4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lose/>
                    <a:moveTo>
                      <a:pt x="18" y="9"/>
                    </a:moveTo>
                    <a:cubicBezTo>
                      <a:pt x="12" y="9"/>
                      <a:pt x="5" y="12"/>
                      <a:pt x="5" y="19"/>
                    </a:cubicBezTo>
                    <a:cubicBezTo>
                      <a:pt x="5" y="26"/>
                      <a:pt x="12" y="30"/>
                      <a:pt x="19" y="30"/>
                    </a:cubicBezTo>
                    <a:cubicBezTo>
                      <a:pt x="26" y="30"/>
                      <a:pt x="32" y="25"/>
                      <a:pt x="32" y="19"/>
                    </a:cubicBezTo>
                    <a:cubicBezTo>
                      <a:pt x="32" y="13"/>
                      <a:pt x="26" y="9"/>
                      <a:pt x="18" y="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15"/>
              <p:cNvSpPr>
                <a:spLocks/>
              </p:cNvSpPr>
              <p:nvPr/>
            </p:nvSpPr>
            <p:spPr bwMode="auto">
              <a:xfrm>
                <a:off x="5281613" y="4595813"/>
                <a:ext cx="101600" cy="82550"/>
              </a:xfrm>
              <a:custGeom>
                <a:avLst/>
                <a:gdLst/>
                <a:ahLst/>
                <a:cxnLst>
                  <a:cxn ang="0">
                    <a:pos x="35" y="6"/>
                  </a:cxn>
                  <a:cxn ang="0">
                    <a:pos x="36" y="10"/>
                  </a:cxn>
                  <a:cxn ang="0">
                    <a:pos x="25" y="18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6" y="29"/>
                  </a:cxn>
                  <a:cxn ang="0">
                    <a:pos x="2" y="29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5" y="1"/>
                  </a:cxn>
                  <a:cxn ang="0">
                    <a:pos x="5" y="11"/>
                  </a:cxn>
                  <a:cxn ang="0">
                    <a:pos x="25" y="11"/>
                  </a:cxn>
                  <a:cxn ang="0">
                    <a:pos x="31" y="7"/>
                  </a:cxn>
                  <a:cxn ang="0">
                    <a:pos x="31" y="6"/>
                  </a:cxn>
                  <a:cxn ang="0">
                    <a:pos x="35" y="6"/>
                  </a:cxn>
                </a:cxnLst>
                <a:rect l="0" t="0" r="r" b="b"/>
                <a:pathLst>
                  <a:path w="36" h="29">
                    <a:moveTo>
                      <a:pt x="35" y="6"/>
                    </a:moveTo>
                    <a:cubicBezTo>
                      <a:pt x="36" y="7"/>
                      <a:pt x="36" y="8"/>
                      <a:pt x="36" y="10"/>
                    </a:cubicBezTo>
                    <a:cubicBezTo>
                      <a:pt x="36" y="15"/>
                      <a:pt x="32" y="18"/>
                      <a:pt x="25" y="18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5" y="25"/>
                      <a:pt x="5" y="27"/>
                      <a:pt x="6" y="29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28"/>
                      <a:pt x="0" y="26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30" y="11"/>
                      <a:pt x="31" y="9"/>
                      <a:pt x="31" y="7"/>
                    </a:cubicBezTo>
                    <a:cubicBezTo>
                      <a:pt x="31" y="7"/>
                      <a:pt x="31" y="6"/>
                      <a:pt x="31" y="6"/>
                    </a:cubicBezTo>
                    <a:lnTo>
                      <a:pt x="35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16"/>
              <p:cNvSpPr>
                <a:spLocks noEditPoints="1"/>
              </p:cNvSpPr>
              <p:nvPr/>
            </p:nvSpPr>
            <p:spPr bwMode="auto">
              <a:xfrm>
                <a:off x="5238751" y="4459288"/>
                <a:ext cx="144463" cy="125413"/>
              </a:xfrm>
              <a:custGeom>
                <a:avLst/>
                <a:gdLst/>
                <a:ahLst/>
                <a:cxnLst>
                  <a:cxn ang="0">
                    <a:pos x="38" y="19"/>
                  </a:cxn>
                  <a:cxn ang="0">
                    <a:pos x="46" y="13"/>
                  </a:cxn>
                  <a:cxn ang="0">
                    <a:pos x="31" y="6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15" y="6"/>
                  </a:cxn>
                  <a:cxn ang="0">
                    <a:pos x="32" y="0"/>
                  </a:cxn>
                  <a:cxn ang="0">
                    <a:pos x="51" y="13"/>
                  </a:cxn>
                  <a:cxn ang="0">
                    <a:pos x="45" y="22"/>
                  </a:cxn>
                  <a:cxn ang="0">
                    <a:pos x="45" y="22"/>
                  </a:cxn>
                  <a:cxn ang="0">
                    <a:pos x="51" y="32"/>
                  </a:cxn>
                  <a:cxn ang="0">
                    <a:pos x="32" y="44"/>
                  </a:cxn>
                  <a:cxn ang="0">
                    <a:pos x="15" y="38"/>
                  </a:cxn>
                  <a:cxn ang="0">
                    <a:pos x="15" y="32"/>
                  </a:cxn>
                  <a:cxn ang="0">
                    <a:pos x="15" y="32"/>
                  </a:cxn>
                  <a:cxn ang="0">
                    <a:pos x="32" y="38"/>
                  </a:cxn>
                  <a:cxn ang="0">
                    <a:pos x="46" y="31"/>
                  </a:cxn>
                  <a:cxn ang="0">
                    <a:pos x="38" y="25"/>
                  </a:cxn>
                  <a:cxn ang="0">
                    <a:pos x="24" y="25"/>
                  </a:cxn>
                  <a:cxn ang="0">
                    <a:pos x="24" y="19"/>
                  </a:cxn>
                  <a:cxn ang="0">
                    <a:pos x="38" y="19"/>
                  </a:cxn>
                  <a:cxn ang="0">
                    <a:pos x="0" y="15"/>
                  </a:cxn>
                  <a:cxn ang="0">
                    <a:pos x="11" y="21"/>
                  </a:cxn>
                  <a:cxn ang="0">
                    <a:pos x="11" y="25"/>
                  </a:cxn>
                  <a:cxn ang="0">
                    <a:pos x="0" y="21"/>
                  </a:cxn>
                  <a:cxn ang="0">
                    <a:pos x="0" y="15"/>
                  </a:cxn>
                </a:cxnLst>
                <a:rect l="0" t="0" r="r" b="b"/>
                <a:pathLst>
                  <a:path w="51" h="44">
                    <a:moveTo>
                      <a:pt x="38" y="19"/>
                    </a:moveTo>
                    <a:cubicBezTo>
                      <a:pt x="42" y="19"/>
                      <a:pt x="46" y="17"/>
                      <a:pt x="46" y="13"/>
                    </a:cubicBezTo>
                    <a:cubicBezTo>
                      <a:pt x="46" y="10"/>
                      <a:pt x="41" y="6"/>
                      <a:pt x="31" y="6"/>
                    </a:cubicBezTo>
                    <a:cubicBezTo>
                      <a:pt x="25" y="6"/>
                      <a:pt x="18" y="8"/>
                      <a:pt x="15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7" y="3"/>
                      <a:pt x="24" y="0"/>
                      <a:pt x="32" y="0"/>
                    </a:cubicBezTo>
                    <a:cubicBezTo>
                      <a:pt x="45" y="0"/>
                      <a:pt x="51" y="6"/>
                      <a:pt x="51" y="13"/>
                    </a:cubicBezTo>
                    <a:cubicBezTo>
                      <a:pt x="51" y="17"/>
                      <a:pt x="48" y="21"/>
                      <a:pt x="45" y="22"/>
                    </a:cubicBezTo>
                    <a:cubicBezTo>
                      <a:pt x="45" y="22"/>
                      <a:pt x="45" y="22"/>
                      <a:pt x="45" y="22"/>
                    </a:cubicBezTo>
                    <a:cubicBezTo>
                      <a:pt x="48" y="24"/>
                      <a:pt x="51" y="27"/>
                      <a:pt x="51" y="32"/>
                    </a:cubicBezTo>
                    <a:cubicBezTo>
                      <a:pt x="51" y="38"/>
                      <a:pt x="46" y="44"/>
                      <a:pt x="32" y="44"/>
                    </a:cubicBezTo>
                    <a:cubicBezTo>
                      <a:pt x="24" y="44"/>
                      <a:pt x="18" y="41"/>
                      <a:pt x="15" y="38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8" y="36"/>
                      <a:pt x="25" y="38"/>
                      <a:pt x="32" y="38"/>
                    </a:cubicBezTo>
                    <a:cubicBezTo>
                      <a:pt x="42" y="38"/>
                      <a:pt x="46" y="34"/>
                      <a:pt x="46" y="31"/>
                    </a:cubicBezTo>
                    <a:cubicBezTo>
                      <a:pt x="46" y="28"/>
                      <a:pt x="42" y="25"/>
                      <a:pt x="38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19"/>
                      <a:pt x="24" y="19"/>
                      <a:pt x="24" y="19"/>
                    </a:cubicBezTo>
                    <a:lnTo>
                      <a:pt x="38" y="19"/>
                    </a:lnTo>
                    <a:close/>
                    <a:moveTo>
                      <a:pt x="0" y="15"/>
                    </a:move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0" y="21"/>
                      <a:pt x="0" y="21"/>
                      <a:pt x="0" y="21"/>
                    </a:cubicBezTo>
                    <a:lnTo>
                      <a:pt x="0" y="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1" name="Gruppieren 170"/>
            <p:cNvGrpSpPr/>
            <p:nvPr/>
          </p:nvGrpSpPr>
          <p:grpSpPr>
            <a:xfrm>
              <a:off x="2573339" y="1580369"/>
              <a:ext cx="461963" cy="79772"/>
              <a:chOff x="2573338" y="1525588"/>
              <a:chExt cx="461963" cy="106363"/>
            </a:xfrm>
            <a:solidFill>
              <a:schemeClr val="accent5"/>
            </a:solidFill>
          </p:grpSpPr>
          <p:sp>
            <p:nvSpPr>
              <p:cNvPr id="131" name="Freeform 117"/>
              <p:cNvSpPr>
                <a:spLocks noEditPoints="1"/>
              </p:cNvSpPr>
              <p:nvPr/>
            </p:nvSpPr>
            <p:spPr bwMode="auto">
              <a:xfrm>
                <a:off x="2573338" y="1525588"/>
                <a:ext cx="73025" cy="106363"/>
              </a:xfrm>
              <a:custGeom>
                <a:avLst/>
                <a:gdLst/>
                <a:ahLst/>
                <a:cxnLst>
                  <a:cxn ang="0">
                    <a:pos x="1" y="10"/>
                  </a:cxn>
                  <a:cxn ang="0">
                    <a:pos x="0" y="1"/>
                  </a:cxn>
                  <a:cxn ang="0">
                    <a:pos x="5" y="1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14" y="0"/>
                  </a:cxn>
                  <a:cxn ang="0">
                    <a:pos x="26" y="14"/>
                  </a:cxn>
                  <a:cxn ang="0">
                    <a:pos x="14" y="28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5" y="38"/>
                  </a:cxn>
                  <a:cxn ang="0">
                    <a:pos x="1" y="38"/>
                  </a:cxn>
                  <a:cxn ang="0">
                    <a:pos x="1" y="10"/>
                  </a:cxn>
                  <a:cxn ang="0">
                    <a:pos x="5" y="17"/>
                  </a:cxn>
                  <a:cxn ang="0">
                    <a:pos x="6" y="19"/>
                  </a:cxn>
                  <a:cxn ang="0">
                    <a:pos x="13" y="24"/>
                  </a:cxn>
                  <a:cxn ang="0">
                    <a:pos x="21" y="14"/>
                  </a:cxn>
                  <a:cxn ang="0">
                    <a:pos x="13" y="4"/>
                  </a:cxn>
                  <a:cxn ang="0">
                    <a:pos x="6" y="10"/>
                  </a:cxn>
                  <a:cxn ang="0">
                    <a:pos x="5" y="12"/>
                  </a:cxn>
                  <a:cxn ang="0">
                    <a:pos x="5" y="17"/>
                  </a:cxn>
                </a:cxnLst>
                <a:rect l="0" t="0" r="r" b="b"/>
                <a:pathLst>
                  <a:path w="26" h="38">
                    <a:moveTo>
                      <a:pt x="1" y="10"/>
                    </a:moveTo>
                    <a:cubicBezTo>
                      <a:pt x="1" y="6"/>
                      <a:pt x="0" y="3"/>
                      <a:pt x="0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7" y="2"/>
                      <a:pt x="10" y="0"/>
                      <a:pt x="14" y="0"/>
                    </a:cubicBezTo>
                    <a:cubicBezTo>
                      <a:pt x="21" y="0"/>
                      <a:pt x="26" y="6"/>
                      <a:pt x="26" y="14"/>
                    </a:cubicBezTo>
                    <a:cubicBezTo>
                      <a:pt x="26" y="23"/>
                      <a:pt x="20" y="28"/>
                      <a:pt x="14" y="28"/>
                    </a:cubicBezTo>
                    <a:cubicBezTo>
                      <a:pt x="10" y="28"/>
                      <a:pt x="7" y="27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38"/>
                      <a:pt x="5" y="38"/>
                      <a:pt x="5" y="38"/>
                    </a:cubicBezTo>
                    <a:cubicBezTo>
                      <a:pt x="1" y="38"/>
                      <a:pt x="1" y="38"/>
                      <a:pt x="1" y="38"/>
                    </a:cubicBezTo>
                    <a:cubicBezTo>
                      <a:pt x="1" y="10"/>
                      <a:pt x="1" y="10"/>
                      <a:pt x="1" y="10"/>
                    </a:cubicBezTo>
                    <a:close/>
                    <a:moveTo>
                      <a:pt x="5" y="17"/>
                    </a:moveTo>
                    <a:cubicBezTo>
                      <a:pt x="5" y="17"/>
                      <a:pt x="5" y="18"/>
                      <a:pt x="6" y="19"/>
                    </a:cubicBezTo>
                    <a:cubicBezTo>
                      <a:pt x="6" y="22"/>
                      <a:pt x="9" y="24"/>
                      <a:pt x="13" y="24"/>
                    </a:cubicBezTo>
                    <a:cubicBezTo>
                      <a:pt x="18" y="24"/>
                      <a:pt x="21" y="20"/>
                      <a:pt x="21" y="14"/>
                    </a:cubicBezTo>
                    <a:cubicBezTo>
                      <a:pt x="21" y="9"/>
                      <a:pt x="18" y="4"/>
                      <a:pt x="13" y="4"/>
                    </a:cubicBezTo>
                    <a:cubicBezTo>
                      <a:pt x="10" y="4"/>
                      <a:pt x="7" y="7"/>
                      <a:pt x="6" y="10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7"/>
                      <a:pt x="5" y="17"/>
                      <a:pt x="5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18"/>
              <p:cNvSpPr>
                <a:spLocks noEditPoints="1"/>
              </p:cNvSpPr>
              <p:nvPr/>
            </p:nvSpPr>
            <p:spPr bwMode="auto">
              <a:xfrm>
                <a:off x="2659063" y="1525588"/>
                <a:ext cx="58738" cy="79375"/>
              </a:xfrm>
              <a:custGeom>
                <a:avLst/>
                <a:gdLst/>
                <a:ahLst/>
                <a:cxnLst>
                  <a:cxn ang="0">
                    <a:pos x="20" y="21"/>
                  </a:cxn>
                  <a:cxn ang="0">
                    <a:pos x="21" y="28"/>
                  </a:cxn>
                  <a:cxn ang="0">
                    <a:pos x="17" y="28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0" y="11"/>
                  </a:cxn>
                  <a:cxn ang="0">
                    <a:pos x="20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5"/>
                  </a:cxn>
                  <a:cxn ang="0">
                    <a:pos x="16" y="20"/>
                  </a:cxn>
                  <a:cxn ang="0">
                    <a:pos x="16" y="19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0" y="21"/>
                    </a:moveTo>
                    <a:cubicBezTo>
                      <a:pt x="20" y="23"/>
                      <a:pt x="21" y="26"/>
                      <a:pt x="21" y="28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4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8" y="0"/>
                      <a:pt x="20" y="6"/>
                      <a:pt x="20" y="11"/>
                    </a:cubicBezTo>
                    <a:cubicBezTo>
                      <a:pt x="20" y="21"/>
                      <a:pt x="20" y="21"/>
                      <a:pt x="20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5"/>
                      <a:pt x="9" y="25"/>
                    </a:cubicBezTo>
                    <a:cubicBezTo>
                      <a:pt x="13" y="25"/>
                      <a:pt x="15" y="22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cubicBezTo>
                      <a:pt x="16" y="14"/>
                      <a:pt x="16" y="14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19"/>
              <p:cNvSpPr>
                <a:spLocks/>
              </p:cNvSpPr>
              <p:nvPr/>
            </p:nvSpPr>
            <p:spPr bwMode="auto">
              <a:xfrm>
                <a:off x="2728913" y="1527175"/>
                <a:ext cx="68263" cy="7778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9" y="6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5" y="6"/>
                  </a:cxn>
                  <a:cxn ang="0">
                    <a:pos x="19" y="0"/>
                  </a:cxn>
                  <a:cxn ang="0">
                    <a:pos x="24" y="0"/>
                  </a:cxn>
                  <a:cxn ang="0">
                    <a:pos x="15" y="13"/>
                  </a:cxn>
                  <a:cxn ang="0">
                    <a:pos x="24" y="27"/>
                  </a:cxn>
                  <a:cxn ang="0">
                    <a:pos x="19" y="27"/>
                  </a:cxn>
                  <a:cxn ang="0">
                    <a:pos x="15" y="21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9" y="21"/>
                  </a:cxn>
                  <a:cxn ang="0">
                    <a:pos x="5" y="27"/>
                  </a:cxn>
                  <a:cxn ang="0">
                    <a:pos x="0" y="27"/>
                  </a:cxn>
                  <a:cxn ang="0">
                    <a:pos x="9" y="13"/>
                  </a:cxn>
                  <a:cxn ang="0">
                    <a:pos x="0" y="0"/>
                  </a:cxn>
                  <a:cxn ang="0">
                    <a:pos x="6" y="0"/>
                  </a:cxn>
                </a:cxnLst>
                <a:rect l="0" t="0" r="r" b="b"/>
                <a:pathLst>
                  <a:path w="24" h="27">
                    <a:moveTo>
                      <a:pt x="6" y="0"/>
                    </a:moveTo>
                    <a:cubicBezTo>
                      <a:pt x="9" y="6"/>
                      <a:pt x="9" y="6"/>
                      <a:pt x="9" y="6"/>
                    </a:cubicBezTo>
                    <a:cubicBezTo>
                      <a:pt x="10" y="7"/>
                      <a:pt x="11" y="8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8"/>
                      <a:pt x="14" y="7"/>
                      <a:pt x="15" y="6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4" y="19"/>
                      <a:pt x="13" y="18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1" y="18"/>
                      <a:pt x="10" y="19"/>
                      <a:pt x="9" y="21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20"/>
              <p:cNvSpPr>
                <a:spLocks/>
              </p:cNvSpPr>
              <p:nvPr/>
            </p:nvSpPr>
            <p:spPr bwMode="auto">
              <a:xfrm>
                <a:off x="2805113" y="1527175"/>
                <a:ext cx="88900" cy="7778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0"/>
                  </a:cxn>
                  <a:cxn ang="0">
                    <a:pos x="13" y="13"/>
                  </a:cxn>
                  <a:cxn ang="0">
                    <a:pos x="15" y="21"/>
                  </a:cxn>
                  <a:cxn ang="0">
                    <a:pos x="15" y="21"/>
                  </a:cxn>
                  <a:cxn ang="0">
                    <a:pos x="18" y="12"/>
                  </a:cxn>
                  <a:cxn ang="0">
                    <a:pos x="23" y="0"/>
                  </a:cxn>
                  <a:cxn ang="0">
                    <a:pos x="29" y="0"/>
                  </a:cxn>
                  <a:cxn ang="0">
                    <a:pos x="31" y="27"/>
                  </a:cxn>
                  <a:cxn ang="0">
                    <a:pos x="26" y="27"/>
                  </a:cxn>
                  <a:cxn ang="0">
                    <a:pos x="25" y="14"/>
                  </a:cxn>
                  <a:cxn ang="0">
                    <a:pos x="25" y="4"/>
                  </a:cxn>
                  <a:cxn ang="0">
                    <a:pos x="25" y="4"/>
                  </a:cxn>
                  <a:cxn ang="0">
                    <a:pos x="22" y="13"/>
                  </a:cxn>
                  <a:cxn ang="0">
                    <a:pos x="17" y="26"/>
                  </a:cxn>
                  <a:cxn ang="0">
                    <a:pos x="13" y="26"/>
                  </a:cxn>
                  <a:cxn ang="0">
                    <a:pos x="8" y="13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5" y="14"/>
                  </a:cxn>
                  <a:cxn ang="0">
                    <a:pos x="4" y="27"/>
                  </a:cxn>
                  <a:cxn ang="0">
                    <a:pos x="0" y="27"/>
                  </a:cxn>
                  <a:cxn ang="0">
                    <a:pos x="2" y="0"/>
                  </a:cxn>
                </a:cxnLst>
                <a:rect l="0" t="0" r="r" b="b"/>
                <a:pathLst>
                  <a:path w="31" h="27">
                    <a:moveTo>
                      <a:pt x="2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5"/>
                      <a:pt x="15" y="19"/>
                      <a:pt x="15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19"/>
                      <a:pt x="17" y="14"/>
                      <a:pt x="18" y="12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1"/>
                      <a:pt x="25" y="8"/>
                      <a:pt x="25" y="4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4" y="7"/>
                      <a:pt x="23" y="9"/>
                      <a:pt x="22" y="13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1"/>
                      <a:pt x="6" y="7"/>
                      <a:pt x="6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5" y="8"/>
                      <a:pt x="5" y="11"/>
                      <a:pt x="5" y="14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0" y="27"/>
                      <a:pt x="0" y="27"/>
                      <a:pt x="0" y="27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21"/>
              <p:cNvSpPr>
                <a:spLocks noEditPoints="1"/>
              </p:cNvSpPr>
              <p:nvPr/>
            </p:nvSpPr>
            <p:spPr bwMode="auto">
              <a:xfrm>
                <a:off x="2905126" y="1525588"/>
                <a:ext cx="58738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8"/>
                  </a:cxn>
                  <a:cxn ang="0">
                    <a:pos x="17" y="28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5"/>
                  </a:cxn>
                  <a:cxn ang="0">
                    <a:pos x="16" y="20"/>
                  </a:cxn>
                  <a:cxn ang="0">
                    <a:pos x="16" y="19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8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5"/>
                      <a:pt x="9" y="25"/>
                    </a:cubicBezTo>
                    <a:cubicBezTo>
                      <a:pt x="13" y="25"/>
                      <a:pt x="15" y="22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22"/>
              <p:cNvSpPr>
                <a:spLocks/>
              </p:cNvSpPr>
              <p:nvPr/>
            </p:nvSpPr>
            <p:spPr bwMode="auto">
              <a:xfrm>
                <a:off x="2973388" y="1527175"/>
                <a:ext cx="61913" cy="7778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8"/>
                  </a:cxn>
                  <a:cxn ang="0">
                    <a:pos x="25" y="8"/>
                  </a:cxn>
                  <a:cxn ang="0">
                    <a:pos x="25" y="49"/>
                  </a:cxn>
                  <a:cxn ang="0">
                    <a:pos x="16" y="49"/>
                  </a:cxn>
                  <a:cxn ang="0">
                    <a:pos x="16" y="8"/>
                  </a:cxn>
                  <a:cxn ang="0">
                    <a:pos x="0" y="8"/>
                  </a:cxn>
                  <a:cxn ang="0">
                    <a:pos x="0" y="0"/>
                  </a:cxn>
                  <a:cxn ang="0">
                    <a:pos x="39" y="0"/>
                  </a:cxn>
                </a:cxnLst>
                <a:rect l="0" t="0" r="r" b="b"/>
                <a:pathLst>
                  <a:path w="39" h="49">
                    <a:moveTo>
                      <a:pt x="39" y="0"/>
                    </a:moveTo>
                    <a:lnTo>
                      <a:pt x="39" y="8"/>
                    </a:lnTo>
                    <a:lnTo>
                      <a:pt x="25" y="8"/>
                    </a:lnTo>
                    <a:lnTo>
                      <a:pt x="25" y="49"/>
                    </a:lnTo>
                    <a:lnTo>
                      <a:pt x="16" y="49"/>
                    </a:lnTo>
                    <a:lnTo>
                      <a:pt x="16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2" name="Gruppieren 164"/>
            <p:cNvGrpSpPr/>
            <p:nvPr/>
          </p:nvGrpSpPr>
          <p:grpSpPr>
            <a:xfrm>
              <a:off x="1465263" y="1947081"/>
              <a:ext cx="693738" cy="102394"/>
              <a:chOff x="1465263" y="2014538"/>
              <a:chExt cx="693738" cy="136525"/>
            </a:xfrm>
            <a:solidFill>
              <a:schemeClr val="accent5"/>
            </a:solidFill>
          </p:grpSpPr>
          <p:sp>
            <p:nvSpPr>
              <p:cNvPr id="122" name="Freeform 123"/>
              <p:cNvSpPr>
                <a:spLocks noEditPoints="1"/>
              </p:cNvSpPr>
              <p:nvPr/>
            </p:nvSpPr>
            <p:spPr bwMode="auto">
              <a:xfrm>
                <a:off x="1465263" y="2014538"/>
                <a:ext cx="66675" cy="107950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4"/>
                  </a:cxn>
                  <a:cxn ang="0">
                    <a:pos x="5" y="4"/>
                  </a:cxn>
                  <a:cxn ang="0">
                    <a:pos x="5" y="14"/>
                  </a:cxn>
                  <a:cxn ang="0">
                    <a:pos x="10" y="14"/>
                  </a:cxn>
                  <a:cxn ang="0">
                    <a:pos x="19" y="16"/>
                  </a:cxn>
                  <a:cxn ang="0">
                    <a:pos x="24" y="26"/>
                  </a:cxn>
                  <a:cxn ang="0">
                    <a:pos x="21" y="34"/>
                  </a:cxn>
                  <a:cxn ang="0">
                    <a:pos x="8" y="38"/>
                  </a:cxn>
                  <a:cxn ang="0">
                    <a:pos x="0" y="37"/>
                  </a:cxn>
                  <a:cxn ang="0">
                    <a:pos x="0" y="0"/>
                  </a:cxn>
                  <a:cxn ang="0">
                    <a:pos x="21" y="0"/>
                  </a:cxn>
                  <a:cxn ang="0">
                    <a:pos x="5" y="34"/>
                  </a:cxn>
                  <a:cxn ang="0">
                    <a:pos x="9" y="34"/>
                  </a:cxn>
                  <a:cxn ang="0">
                    <a:pos x="17" y="31"/>
                  </a:cxn>
                  <a:cxn ang="0">
                    <a:pos x="19" y="26"/>
                  </a:cxn>
                  <a:cxn ang="0">
                    <a:pos x="16" y="20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5" y="34"/>
                  </a:cxn>
                </a:cxnLst>
                <a:rect l="0" t="0" r="r" b="b"/>
                <a:pathLst>
                  <a:path w="24" h="38">
                    <a:moveTo>
                      <a:pt x="21" y="0"/>
                    </a:moveTo>
                    <a:cubicBezTo>
                      <a:pt x="21" y="4"/>
                      <a:pt x="21" y="4"/>
                      <a:pt x="21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6" y="14"/>
                      <a:pt x="9" y="14"/>
                      <a:pt x="10" y="14"/>
                    </a:cubicBezTo>
                    <a:cubicBezTo>
                      <a:pt x="13" y="14"/>
                      <a:pt x="17" y="15"/>
                      <a:pt x="19" y="16"/>
                    </a:cubicBezTo>
                    <a:cubicBezTo>
                      <a:pt x="22" y="18"/>
                      <a:pt x="24" y="21"/>
                      <a:pt x="24" y="26"/>
                    </a:cubicBezTo>
                    <a:cubicBezTo>
                      <a:pt x="24" y="29"/>
                      <a:pt x="23" y="32"/>
                      <a:pt x="21" y="34"/>
                    </a:cubicBezTo>
                    <a:cubicBezTo>
                      <a:pt x="18" y="37"/>
                      <a:pt x="13" y="38"/>
                      <a:pt x="8" y="38"/>
                    </a:cubicBezTo>
                    <a:cubicBezTo>
                      <a:pt x="5" y="38"/>
                      <a:pt x="2" y="38"/>
                      <a:pt x="0" y="3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1" y="0"/>
                      <a:pt x="21" y="0"/>
                      <a:pt x="21" y="0"/>
                    </a:cubicBezTo>
                    <a:close/>
                    <a:moveTo>
                      <a:pt x="5" y="34"/>
                    </a:moveTo>
                    <a:cubicBezTo>
                      <a:pt x="6" y="34"/>
                      <a:pt x="8" y="34"/>
                      <a:pt x="9" y="34"/>
                    </a:cubicBezTo>
                    <a:cubicBezTo>
                      <a:pt x="12" y="34"/>
                      <a:pt x="15" y="33"/>
                      <a:pt x="17" y="31"/>
                    </a:cubicBezTo>
                    <a:cubicBezTo>
                      <a:pt x="18" y="30"/>
                      <a:pt x="19" y="28"/>
                      <a:pt x="19" y="26"/>
                    </a:cubicBezTo>
                    <a:cubicBezTo>
                      <a:pt x="19" y="23"/>
                      <a:pt x="18" y="21"/>
                      <a:pt x="16" y="20"/>
                    </a:cubicBezTo>
                    <a:cubicBezTo>
                      <a:pt x="14" y="18"/>
                      <a:pt x="12" y="18"/>
                      <a:pt x="9" y="18"/>
                    </a:cubicBezTo>
                    <a:cubicBezTo>
                      <a:pt x="8" y="18"/>
                      <a:pt x="6" y="18"/>
                      <a:pt x="5" y="18"/>
                    </a:cubicBezTo>
                    <a:cubicBezTo>
                      <a:pt x="5" y="34"/>
                      <a:pt x="5" y="34"/>
                      <a:pt x="5" y="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24"/>
              <p:cNvSpPr>
                <a:spLocks noEditPoints="1"/>
              </p:cNvSpPr>
              <p:nvPr/>
            </p:nvSpPr>
            <p:spPr bwMode="auto">
              <a:xfrm>
                <a:off x="1544638" y="2043113"/>
                <a:ext cx="61913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2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7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2" h="28">
                    <a:moveTo>
                      <a:pt x="21" y="21"/>
                    </a:moveTo>
                    <a:cubicBezTo>
                      <a:pt x="21" y="23"/>
                      <a:pt x="21" y="26"/>
                      <a:pt x="22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8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25"/>
              <p:cNvSpPr>
                <a:spLocks noEditPoints="1"/>
              </p:cNvSpPr>
              <p:nvPr/>
            </p:nvSpPr>
            <p:spPr bwMode="auto">
              <a:xfrm>
                <a:off x="1617663" y="2043113"/>
                <a:ext cx="65088" cy="76200"/>
              </a:xfrm>
              <a:custGeom>
                <a:avLst/>
                <a:gdLst/>
                <a:ahLst/>
                <a:cxnLst>
                  <a:cxn ang="0">
                    <a:pos x="23" y="27"/>
                  </a:cxn>
                  <a:cxn ang="0">
                    <a:pos x="18" y="27"/>
                  </a:cxn>
                  <a:cxn ang="0">
                    <a:pos x="18" y="16"/>
                  </a:cxn>
                  <a:cxn ang="0">
                    <a:pos x="14" y="16"/>
                  </a:cxn>
                  <a:cxn ang="0">
                    <a:pos x="10" y="18"/>
                  </a:cxn>
                  <a:cxn ang="0">
                    <a:pos x="6" y="25"/>
                  </a:cxn>
                  <a:cxn ang="0">
                    <a:pos x="5" y="27"/>
                  </a:cxn>
                  <a:cxn ang="0">
                    <a:pos x="0" y="27"/>
                  </a:cxn>
                  <a:cxn ang="0">
                    <a:pos x="2" y="24"/>
                  </a:cxn>
                  <a:cxn ang="0">
                    <a:pos x="6" y="16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2" y="8"/>
                  </a:cxn>
                  <a:cxn ang="0">
                    <a:pos x="5" y="2"/>
                  </a:cxn>
                  <a:cxn ang="0">
                    <a:pos x="14" y="0"/>
                  </a:cxn>
                  <a:cxn ang="0">
                    <a:pos x="23" y="1"/>
                  </a:cxn>
                  <a:cxn ang="0">
                    <a:pos x="23" y="27"/>
                  </a:cxn>
                  <a:cxn ang="0">
                    <a:pos x="18" y="4"/>
                  </a:cxn>
                  <a:cxn ang="0">
                    <a:pos x="14" y="4"/>
                  </a:cxn>
                  <a:cxn ang="0">
                    <a:pos x="7" y="8"/>
                  </a:cxn>
                  <a:cxn ang="0">
                    <a:pos x="14" y="13"/>
                  </a:cxn>
                  <a:cxn ang="0">
                    <a:pos x="18" y="13"/>
                  </a:cxn>
                  <a:cxn ang="0">
                    <a:pos x="18" y="4"/>
                  </a:cxn>
                </a:cxnLst>
                <a:rect l="0" t="0" r="r" b="b"/>
                <a:pathLst>
                  <a:path w="23" h="27">
                    <a:moveTo>
                      <a:pt x="23" y="27"/>
                    </a:move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2" y="16"/>
                      <a:pt x="11" y="17"/>
                      <a:pt x="10" y="18"/>
                    </a:cubicBezTo>
                    <a:cubicBezTo>
                      <a:pt x="8" y="19"/>
                      <a:pt x="7" y="23"/>
                      <a:pt x="6" y="25"/>
                    </a:cubicBezTo>
                    <a:cubicBezTo>
                      <a:pt x="6" y="26"/>
                      <a:pt x="6" y="27"/>
                      <a:pt x="5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7"/>
                      <a:pt x="1" y="26"/>
                      <a:pt x="2" y="24"/>
                    </a:cubicBezTo>
                    <a:cubicBezTo>
                      <a:pt x="3" y="22"/>
                      <a:pt x="3" y="18"/>
                      <a:pt x="6" y="16"/>
                    </a:cubicBezTo>
                    <a:cubicBezTo>
                      <a:pt x="7" y="16"/>
                      <a:pt x="8" y="15"/>
                      <a:pt x="9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5" y="14"/>
                      <a:pt x="2" y="12"/>
                      <a:pt x="2" y="8"/>
                    </a:cubicBezTo>
                    <a:cubicBezTo>
                      <a:pt x="2" y="5"/>
                      <a:pt x="3" y="3"/>
                      <a:pt x="5" y="2"/>
                    </a:cubicBezTo>
                    <a:cubicBezTo>
                      <a:pt x="8" y="1"/>
                      <a:pt x="11" y="0"/>
                      <a:pt x="14" y="0"/>
                    </a:cubicBezTo>
                    <a:cubicBezTo>
                      <a:pt x="17" y="0"/>
                      <a:pt x="21" y="1"/>
                      <a:pt x="23" y="1"/>
                    </a:cubicBezTo>
                    <a:cubicBezTo>
                      <a:pt x="23" y="27"/>
                      <a:pt x="23" y="27"/>
                      <a:pt x="23" y="27"/>
                    </a:cubicBezTo>
                    <a:close/>
                    <a:moveTo>
                      <a:pt x="18" y="4"/>
                    </a:moveTo>
                    <a:cubicBezTo>
                      <a:pt x="17" y="4"/>
                      <a:pt x="16" y="4"/>
                      <a:pt x="14" y="4"/>
                    </a:cubicBezTo>
                    <a:cubicBezTo>
                      <a:pt x="11" y="4"/>
                      <a:pt x="7" y="5"/>
                      <a:pt x="7" y="8"/>
                    </a:cubicBezTo>
                    <a:cubicBezTo>
                      <a:pt x="7" y="12"/>
                      <a:pt x="11" y="13"/>
                      <a:pt x="14" y="13"/>
                    </a:cubicBezTo>
                    <a:cubicBezTo>
                      <a:pt x="16" y="13"/>
                      <a:pt x="17" y="13"/>
                      <a:pt x="18" y="13"/>
                    </a:cubicBezTo>
                    <a:cubicBezTo>
                      <a:pt x="18" y="4"/>
                      <a:pt x="18" y="4"/>
                      <a:pt x="18" y="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26"/>
              <p:cNvSpPr>
                <a:spLocks noEditPoints="1"/>
              </p:cNvSpPr>
              <p:nvPr/>
            </p:nvSpPr>
            <p:spPr bwMode="auto">
              <a:xfrm>
                <a:off x="1704976" y="2043113"/>
                <a:ext cx="71438" cy="10795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1"/>
                  </a:cxn>
                  <a:cxn ang="0">
                    <a:pos x="4" y="1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4" y="0"/>
                  </a:cxn>
                  <a:cxn ang="0">
                    <a:pos x="25" y="14"/>
                  </a:cxn>
                  <a:cxn ang="0">
                    <a:pos x="13" y="28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5" y="38"/>
                  </a:cxn>
                  <a:cxn ang="0">
                    <a:pos x="0" y="38"/>
                  </a:cxn>
                  <a:cxn ang="0">
                    <a:pos x="0" y="9"/>
                  </a:cxn>
                  <a:cxn ang="0">
                    <a:pos x="5" y="17"/>
                  </a:cxn>
                  <a:cxn ang="0">
                    <a:pos x="5" y="19"/>
                  </a:cxn>
                  <a:cxn ang="0">
                    <a:pos x="12" y="24"/>
                  </a:cxn>
                  <a:cxn ang="0">
                    <a:pos x="20" y="14"/>
                  </a:cxn>
                  <a:cxn ang="0">
                    <a:pos x="12" y="4"/>
                  </a:cxn>
                  <a:cxn ang="0">
                    <a:pos x="5" y="10"/>
                  </a:cxn>
                  <a:cxn ang="0">
                    <a:pos x="5" y="12"/>
                  </a:cxn>
                  <a:cxn ang="0">
                    <a:pos x="5" y="17"/>
                  </a:cxn>
                </a:cxnLst>
                <a:rect l="0" t="0" r="r" b="b"/>
                <a:pathLst>
                  <a:path w="25" h="38">
                    <a:moveTo>
                      <a:pt x="0" y="9"/>
                    </a:moveTo>
                    <a:cubicBezTo>
                      <a:pt x="0" y="6"/>
                      <a:pt x="0" y="3"/>
                      <a:pt x="0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6" y="2"/>
                      <a:pt x="9" y="0"/>
                      <a:pt x="14" y="0"/>
                    </a:cubicBezTo>
                    <a:cubicBezTo>
                      <a:pt x="20" y="0"/>
                      <a:pt x="25" y="6"/>
                      <a:pt x="25" y="14"/>
                    </a:cubicBezTo>
                    <a:cubicBezTo>
                      <a:pt x="25" y="23"/>
                      <a:pt x="19" y="28"/>
                      <a:pt x="13" y="28"/>
                    </a:cubicBezTo>
                    <a:cubicBezTo>
                      <a:pt x="9" y="28"/>
                      <a:pt x="6" y="27"/>
                      <a:pt x="5" y="2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5" y="38"/>
                      <a:pt x="5" y="38"/>
                      <a:pt x="5" y="38"/>
                    </a:cubicBezTo>
                    <a:cubicBezTo>
                      <a:pt x="0" y="38"/>
                      <a:pt x="0" y="38"/>
                      <a:pt x="0" y="38"/>
                    </a:cubicBezTo>
                    <a:lnTo>
                      <a:pt x="0" y="9"/>
                    </a:lnTo>
                    <a:close/>
                    <a:moveTo>
                      <a:pt x="5" y="17"/>
                    </a:moveTo>
                    <a:cubicBezTo>
                      <a:pt x="5" y="17"/>
                      <a:pt x="5" y="18"/>
                      <a:pt x="5" y="19"/>
                    </a:cubicBezTo>
                    <a:cubicBezTo>
                      <a:pt x="6" y="22"/>
                      <a:pt x="9" y="24"/>
                      <a:pt x="12" y="24"/>
                    </a:cubicBezTo>
                    <a:cubicBezTo>
                      <a:pt x="17" y="24"/>
                      <a:pt x="20" y="20"/>
                      <a:pt x="20" y="14"/>
                    </a:cubicBezTo>
                    <a:cubicBezTo>
                      <a:pt x="20" y="9"/>
                      <a:pt x="17" y="4"/>
                      <a:pt x="12" y="4"/>
                    </a:cubicBezTo>
                    <a:cubicBezTo>
                      <a:pt x="9" y="4"/>
                      <a:pt x="6" y="6"/>
                      <a:pt x="5" y="10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5" y="17"/>
                      <a:pt x="5" y="17"/>
                      <a:pt x="5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27"/>
              <p:cNvSpPr>
                <a:spLocks/>
              </p:cNvSpPr>
              <p:nvPr/>
            </p:nvSpPr>
            <p:spPr bwMode="auto">
              <a:xfrm>
                <a:off x="1782763" y="2046288"/>
                <a:ext cx="66675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20" y="26"/>
                  </a:cxn>
                  <a:cxn ang="0">
                    <a:pos x="20" y="4"/>
                  </a:cxn>
                  <a:cxn ang="0">
                    <a:pos x="10" y="4"/>
                  </a:cxn>
                  <a:cxn ang="0">
                    <a:pos x="10" y="10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6" y="10"/>
                  </a:cxn>
                  <a:cxn ang="0">
                    <a:pos x="6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18"/>
                      <a:pt x="10" y="23"/>
                      <a:pt x="6" y="25"/>
                    </a:cubicBezTo>
                    <a:cubicBezTo>
                      <a:pt x="5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6" y="20"/>
                      <a:pt x="6" y="16"/>
                      <a:pt x="6" y="10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28"/>
              <p:cNvSpPr>
                <a:spLocks noEditPoints="1"/>
              </p:cNvSpPr>
              <p:nvPr/>
            </p:nvSpPr>
            <p:spPr bwMode="auto">
              <a:xfrm>
                <a:off x="1866901" y="2043113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7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8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lnTo>
                      <a:pt x="21" y="21"/>
                    </a:ln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29"/>
              <p:cNvSpPr>
                <a:spLocks/>
              </p:cNvSpPr>
              <p:nvPr/>
            </p:nvSpPr>
            <p:spPr bwMode="auto">
              <a:xfrm>
                <a:off x="1938338" y="2046288"/>
                <a:ext cx="68263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9" y="4"/>
                  </a:cxn>
                  <a:cxn ang="0">
                    <a:pos x="10" y="4"/>
                  </a:cxn>
                  <a:cxn ang="0">
                    <a:pos x="10" y="10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6" y="10"/>
                  </a:cxn>
                  <a:cxn ang="0">
                    <a:pos x="6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0" y="18"/>
                      <a:pt x="10" y="23"/>
                      <a:pt x="6" y="25"/>
                    </a:cubicBezTo>
                    <a:cubicBezTo>
                      <a:pt x="5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5" y="20"/>
                      <a:pt x="6" y="16"/>
                      <a:pt x="6" y="10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30"/>
              <p:cNvSpPr>
                <a:spLocks noEditPoints="1"/>
              </p:cNvSpPr>
              <p:nvPr/>
            </p:nvSpPr>
            <p:spPr bwMode="auto">
              <a:xfrm>
                <a:off x="2022476" y="2043113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7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6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10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131"/>
              <p:cNvSpPr>
                <a:spLocks noEditPoints="1"/>
              </p:cNvSpPr>
              <p:nvPr/>
            </p:nvSpPr>
            <p:spPr bwMode="auto">
              <a:xfrm>
                <a:off x="2100263" y="2043113"/>
                <a:ext cx="58738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0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7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9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3" name="Gruppieren 167"/>
            <p:cNvGrpSpPr/>
            <p:nvPr/>
          </p:nvGrpSpPr>
          <p:grpSpPr>
            <a:xfrm>
              <a:off x="8015289" y="2375706"/>
              <a:ext cx="368301" cy="59531"/>
              <a:chOff x="8015288" y="2586038"/>
              <a:chExt cx="368301" cy="79375"/>
            </a:xfrm>
            <a:solidFill>
              <a:schemeClr val="accent5"/>
            </a:solidFill>
          </p:grpSpPr>
          <p:sp>
            <p:nvSpPr>
              <p:cNvPr id="117" name="Freeform 132"/>
              <p:cNvSpPr>
                <a:spLocks/>
              </p:cNvSpPr>
              <p:nvPr/>
            </p:nvSpPr>
            <p:spPr bwMode="auto">
              <a:xfrm>
                <a:off x="8015288" y="2589213"/>
                <a:ext cx="68263" cy="730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0" y="6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5" y="6"/>
                  </a:cxn>
                  <a:cxn ang="0">
                    <a:pos x="19" y="0"/>
                  </a:cxn>
                  <a:cxn ang="0">
                    <a:pos x="24" y="0"/>
                  </a:cxn>
                  <a:cxn ang="0">
                    <a:pos x="15" y="13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5" y="20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0" y="26"/>
                  </a:cxn>
                  <a:cxn ang="0">
                    <a:pos x="9" y="13"/>
                  </a:cxn>
                  <a:cxn ang="0">
                    <a:pos x="0" y="0"/>
                  </a:cxn>
                  <a:cxn ang="0">
                    <a:pos x="6" y="0"/>
                  </a:cxn>
                </a:cxnLst>
                <a:rect l="0" t="0" r="r" b="b"/>
                <a:pathLst>
                  <a:path w="24" h="26">
                    <a:moveTo>
                      <a:pt x="6" y="0"/>
                    </a:moveTo>
                    <a:cubicBezTo>
                      <a:pt x="10" y="6"/>
                      <a:pt x="10" y="6"/>
                      <a:pt x="10" y="6"/>
                    </a:cubicBezTo>
                    <a:cubicBezTo>
                      <a:pt x="11" y="7"/>
                      <a:pt x="11" y="8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8"/>
                      <a:pt x="14" y="7"/>
                      <a:pt x="15" y="6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4" y="19"/>
                      <a:pt x="13" y="17"/>
                      <a:pt x="12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1" y="17"/>
                      <a:pt x="10" y="19"/>
                      <a:pt x="9" y="20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133"/>
              <p:cNvSpPr>
                <a:spLocks noEditPoints="1"/>
              </p:cNvSpPr>
              <p:nvPr/>
            </p:nvSpPr>
            <p:spPr bwMode="auto">
              <a:xfrm>
                <a:off x="8097838" y="2589213"/>
                <a:ext cx="58738" cy="762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0"/>
                  </a:cxn>
                  <a:cxn ang="0">
                    <a:pos x="20" y="6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21" y="19"/>
                  </a:cxn>
                  <a:cxn ang="0">
                    <a:pos x="7" y="27"/>
                  </a:cxn>
                  <a:cxn ang="0">
                    <a:pos x="0" y="26"/>
                  </a:cxn>
                  <a:cxn ang="0">
                    <a:pos x="0" y="0"/>
                  </a:cxn>
                  <a:cxn ang="0">
                    <a:pos x="4" y="23"/>
                  </a:cxn>
                  <a:cxn ang="0">
                    <a:pos x="8" y="23"/>
                  </a:cxn>
                  <a:cxn ang="0">
                    <a:pos x="16" y="19"/>
                  </a:cxn>
                  <a:cxn ang="0">
                    <a:pos x="8" y="14"/>
                  </a:cxn>
                  <a:cxn ang="0">
                    <a:pos x="4" y="14"/>
                  </a:cxn>
                  <a:cxn ang="0">
                    <a:pos x="4" y="23"/>
                  </a:cxn>
                  <a:cxn ang="0">
                    <a:pos x="4" y="11"/>
                  </a:cxn>
                  <a:cxn ang="0">
                    <a:pos x="8" y="11"/>
                  </a:cxn>
                  <a:cxn ang="0">
                    <a:pos x="15" y="7"/>
                  </a:cxn>
                  <a:cxn ang="0">
                    <a:pos x="8" y="3"/>
                  </a:cxn>
                  <a:cxn ang="0">
                    <a:pos x="4" y="3"/>
                  </a:cxn>
                  <a:cxn ang="0">
                    <a:pos x="4" y="11"/>
                  </a:cxn>
                </a:cxnLst>
                <a:rect l="0" t="0" r="r" b="b"/>
                <a:pathLst>
                  <a:path w="21" h="27">
                    <a:moveTo>
                      <a:pt x="0" y="0"/>
                    </a:moveTo>
                    <a:cubicBezTo>
                      <a:pt x="2" y="0"/>
                      <a:pt x="5" y="0"/>
                      <a:pt x="8" y="0"/>
                    </a:cubicBezTo>
                    <a:cubicBezTo>
                      <a:pt x="13" y="0"/>
                      <a:pt x="20" y="0"/>
                      <a:pt x="20" y="6"/>
                    </a:cubicBezTo>
                    <a:cubicBezTo>
                      <a:pt x="20" y="10"/>
                      <a:pt x="17" y="12"/>
                      <a:pt x="14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8" y="13"/>
                      <a:pt x="21" y="15"/>
                      <a:pt x="21" y="19"/>
                    </a:cubicBezTo>
                    <a:cubicBezTo>
                      <a:pt x="21" y="26"/>
                      <a:pt x="12" y="27"/>
                      <a:pt x="7" y="27"/>
                    </a:cubicBezTo>
                    <a:cubicBezTo>
                      <a:pt x="4" y="27"/>
                      <a:pt x="1" y="27"/>
                      <a:pt x="0" y="26"/>
                    </a:cubicBezTo>
                    <a:lnTo>
                      <a:pt x="0" y="0"/>
                    </a:lnTo>
                    <a:close/>
                    <a:moveTo>
                      <a:pt x="4" y="23"/>
                    </a:moveTo>
                    <a:cubicBezTo>
                      <a:pt x="6" y="23"/>
                      <a:pt x="7" y="23"/>
                      <a:pt x="8" y="23"/>
                    </a:cubicBezTo>
                    <a:cubicBezTo>
                      <a:pt x="11" y="23"/>
                      <a:pt x="16" y="23"/>
                      <a:pt x="16" y="19"/>
                    </a:cubicBezTo>
                    <a:cubicBezTo>
                      <a:pt x="16" y="15"/>
                      <a:pt x="12" y="14"/>
                      <a:pt x="8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23"/>
                      <a:pt x="4" y="23"/>
                      <a:pt x="4" y="23"/>
                    </a:cubicBezTo>
                    <a:close/>
                    <a:moveTo>
                      <a:pt x="4" y="11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12" y="11"/>
                      <a:pt x="15" y="10"/>
                      <a:pt x="15" y="7"/>
                    </a:cubicBezTo>
                    <a:cubicBezTo>
                      <a:pt x="15" y="4"/>
                      <a:pt x="13" y="3"/>
                      <a:pt x="8" y="3"/>
                    </a:cubicBezTo>
                    <a:cubicBezTo>
                      <a:pt x="6" y="3"/>
                      <a:pt x="5" y="3"/>
                      <a:pt x="4" y="3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134"/>
              <p:cNvSpPr>
                <a:spLocks noEditPoints="1"/>
              </p:cNvSpPr>
              <p:nvPr/>
            </p:nvSpPr>
            <p:spPr bwMode="auto">
              <a:xfrm>
                <a:off x="8167688" y="2586038"/>
                <a:ext cx="60325" cy="79375"/>
              </a:xfrm>
              <a:custGeom>
                <a:avLst/>
                <a:gdLst/>
                <a:ahLst/>
                <a:cxnLst>
                  <a:cxn ang="0">
                    <a:pos x="21" y="21"/>
                  </a:cxn>
                  <a:cxn ang="0">
                    <a:pos x="21" y="27"/>
                  </a:cxn>
                  <a:cxn ang="0">
                    <a:pos x="17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6" y="11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1" y="0"/>
                  </a:cxn>
                  <a:cxn ang="0">
                    <a:pos x="21" y="11"/>
                  </a:cxn>
                  <a:cxn ang="0">
                    <a:pos x="21" y="21"/>
                  </a:cxn>
                  <a:cxn ang="0">
                    <a:pos x="16" y="14"/>
                  </a:cxn>
                  <a:cxn ang="0">
                    <a:pos x="5" y="20"/>
                  </a:cxn>
                  <a:cxn ang="0">
                    <a:pos x="9" y="24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1" y="21"/>
                    </a:moveTo>
                    <a:cubicBezTo>
                      <a:pt x="21" y="23"/>
                      <a:pt x="21" y="26"/>
                      <a:pt x="21" y="27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5" y="26"/>
                      <a:pt x="12" y="28"/>
                      <a:pt x="8" y="28"/>
                    </a:cubicBezTo>
                    <a:cubicBezTo>
                      <a:pt x="3" y="28"/>
                      <a:pt x="0" y="24"/>
                      <a:pt x="0" y="20"/>
                    </a:cubicBezTo>
                    <a:cubicBezTo>
                      <a:pt x="0" y="14"/>
                      <a:pt x="6" y="11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8"/>
                      <a:pt x="15" y="4"/>
                      <a:pt x="10" y="4"/>
                    </a:cubicBezTo>
                    <a:cubicBezTo>
                      <a:pt x="8" y="4"/>
                      <a:pt x="5" y="5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4" y="1"/>
                      <a:pt x="7" y="0"/>
                      <a:pt x="11" y="0"/>
                    </a:cubicBezTo>
                    <a:cubicBezTo>
                      <a:pt x="19" y="0"/>
                      <a:pt x="21" y="6"/>
                      <a:pt x="21" y="11"/>
                    </a:cubicBezTo>
                    <a:cubicBezTo>
                      <a:pt x="21" y="21"/>
                      <a:pt x="21" y="21"/>
                      <a:pt x="21" y="21"/>
                    </a:cubicBezTo>
                    <a:close/>
                    <a:moveTo>
                      <a:pt x="16" y="14"/>
                    </a:moveTo>
                    <a:cubicBezTo>
                      <a:pt x="11" y="14"/>
                      <a:pt x="5" y="15"/>
                      <a:pt x="5" y="20"/>
                    </a:cubicBezTo>
                    <a:cubicBezTo>
                      <a:pt x="5" y="23"/>
                      <a:pt x="7" y="24"/>
                      <a:pt x="9" y="24"/>
                    </a:cubicBezTo>
                    <a:cubicBezTo>
                      <a:pt x="13" y="24"/>
                      <a:pt x="15" y="22"/>
                      <a:pt x="16" y="20"/>
                    </a:cubicBezTo>
                    <a:cubicBezTo>
                      <a:pt x="16" y="19"/>
                      <a:pt x="16" y="19"/>
                      <a:pt x="16" y="18"/>
                    </a:cubicBezTo>
                    <a:lnTo>
                      <a:pt x="16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135"/>
              <p:cNvSpPr>
                <a:spLocks/>
              </p:cNvSpPr>
              <p:nvPr/>
            </p:nvSpPr>
            <p:spPr bwMode="auto">
              <a:xfrm>
                <a:off x="8239126" y="2589213"/>
                <a:ext cx="68263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26"/>
                  </a:cxn>
                  <a:cxn ang="0">
                    <a:pos x="19" y="26"/>
                  </a:cxn>
                  <a:cxn ang="0">
                    <a:pos x="19" y="4"/>
                  </a:cxn>
                  <a:cxn ang="0">
                    <a:pos x="10" y="4"/>
                  </a:cxn>
                  <a:cxn ang="0">
                    <a:pos x="10" y="11"/>
                  </a:cxn>
                  <a:cxn ang="0">
                    <a:pos x="6" y="25"/>
                  </a:cxn>
                  <a:cxn ang="0">
                    <a:pos x="1" y="27"/>
                  </a:cxn>
                  <a:cxn ang="0">
                    <a:pos x="0" y="23"/>
                  </a:cxn>
                  <a:cxn ang="0">
                    <a:pos x="3" y="22"/>
                  </a:cxn>
                  <a:cxn ang="0">
                    <a:pos x="5" y="11"/>
                  </a:cxn>
                  <a:cxn ang="0">
                    <a:pos x="5" y="0"/>
                  </a:cxn>
                  <a:cxn ang="0">
                    <a:pos x="24" y="0"/>
                  </a:cxn>
                </a:cxnLst>
                <a:rect l="0" t="0" r="r" b="b"/>
                <a:pathLst>
                  <a:path w="24" h="27">
                    <a:moveTo>
                      <a:pt x="24" y="0"/>
                    </a:moveTo>
                    <a:cubicBezTo>
                      <a:pt x="24" y="26"/>
                      <a:pt x="24" y="26"/>
                      <a:pt x="24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8"/>
                      <a:pt x="9" y="23"/>
                      <a:pt x="6" y="25"/>
                    </a:cubicBezTo>
                    <a:cubicBezTo>
                      <a:pt x="4" y="26"/>
                      <a:pt x="3" y="27"/>
                      <a:pt x="1" y="2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3"/>
                      <a:pt x="2" y="22"/>
                      <a:pt x="3" y="22"/>
                    </a:cubicBezTo>
                    <a:cubicBezTo>
                      <a:pt x="5" y="20"/>
                      <a:pt x="5" y="16"/>
                      <a:pt x="5" y="11"/>
                    </a:cubicBezTo>
                    <a:cubicBezTo>
                      <a:pt x="5" y="0"/>
                      <a:pt x="5" y="0"/>
                      <a:pt x="5" y="0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36"/>
              <p:cNvSpPr>
                <a:spLocks noEditPoints="1"/>
              </p:cNvSpPr>
              <p:nvPr/>
            </p:nvSpPr>
            <p:spPr bwMode="auto">
              <a:xfrm>
                <a:off x="8324851" y="2586038"/>
                <a:ext cx="58738" cy="79375"/>
              </a:xfrm>
              <a:custGeom>
                <a:avLst/>
                <a:gdLst/>
                <a:ahLst/>
                <a:cxnLst>
                  <a:cxn ang="0">
                    <a:pos x="20" y="21"/>
                  </a:cxn>
                  <a:cxn ang="0">
                    <a:pos x="21" y="27"/>
                  </a:cxn>
                  <a:cxn ang="0">
                    <a:pos x="16" y="27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15" y="11"/>
                  </a:cxn>
                  <a:cxn ang="0">
                    <a:pos x="15" y="10"/>
                  </a:cxn>
                  <a:cxn ang="0">
                    <a:pos x="9" y="4"/>
                  </a:cxn>
                  <a:cxn ang="0">
                    <a:pos x="2" y="6"/>
                  </a:cxn>
                  <a:cxn ang="0">
                    <a:pos x="1" y="3"/>
                  </a:cxn>
                  <a:cxn ang="0">
                    <a:pos x="10" y="0"/>
                  </a:cxn>
                  <a:cxn ang="0">
                    <a:pos x="20" y="11"/>
                  </a:cxn>
                  <a:cxn ang="0">
                    <a:pos x="20" y="21"/>
                  </a:cxn>
                  <a:cxn ang="0">
                    <a:pos x="16" y="14"/>
                  </a:cxn>
                  <a:cxn ang="0">
                    <a:pos x="4" y="20"/>
                  </a:cxn>
                  <a:cxn ang="0">
                    <a:pos x="9" y="24"/>
                  </a:cxn>
                  <a:cxn ang="0">
                    <a:pos x="15" y="20"/>
                  </a:cxn>
                  <a:cxn ang="0">
                    <a:pos x="16" y="18"/>
                  </a:cxn>
                  <a:cxn ang="0">
                    <a:pos x="16" y="14"/>
                  </a:cxn>
                </a:cxnLst>
                <a:rect l="0" t="0" r="r" b="b"/>
                <a:pathLst>
                  <a:path w="21" h="28">
                    <a:moveTo>
                      <a:pt x="20" y="21"/>
                    </a:moveTo>
                    <a:cubicBezTo>
                      <a:pt x="20" y="23"/>
                      <a:pt x="20" y="26"/>
                      <a:pt x="21" y="27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4" y="26"/>
                      <a:pt x="11" y="28"/>
                      <a:pt x="8" y="28"/>
                    </a:cubicBezTo>
                    <a:cubicBezTo>
                      <a:pt x="2" y="28"/>
                      <a:pt x="0" y="24"/>
                      <a:pt x="0" y="20"/>
                    </a:cubicBezTo>
                    <a:cubicBezTo>
                      <a:pt x="0" y="14"/>
                      <a:pt x="5" y="11"/>
                      <a:pt x="15" y="11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8"/>
                      <a:pt x="15" y="4"/>
                      <a:pt x="9" y="4"/>
                    </a:cubicBezTo>
                    <a:cubicBezTo>
                      <a:pt x="7" y="4"/>
                      <a:pt x="4" y="5"/>
                      <a:pt x="2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8" y="0"/>
                      <a:pt x="20" y="6"/>
                      <a:pt x="20" y="11"/>
                    </a:cubicBezTo>
                    <a:cubicBezTo>
                      <a:pt x="20" y="21"/>
                      <a:pt x="20" y="21"/>
                      <a:pt x="20" y="21"/>
                    </a:cubicBezTo>
                    <a:close/>
                    <a:moveTo>
                      <a:pt x="16" y="14"/>
                    </a:moveTo>
                    <a:cubicBezTo>
                      <a:pt x="10" y="14"/>
                      <a:pt x="4" y="15"/>
                      <a:pt x="4" y="20"/>
                    </a:cubicBezTo>
                    <a:cubicBezTo>
                      <a:pt x="4" y="23"/>
                      <a:pt x="6" y="24"/>
                      <a:pt x="9" y="24"/>
                    </a:cubicBezTo>
                    <a:cubicBezTo>
                      <a:pt x="12" y="24"/>
                      <a:pt x="15" y="22"/>
                      <a:pt x="15" y="20"/>
                    </a:cubicBezTo>
                    <a:cubicBezTo>
                      <a:pt x="15" y="19"/>
                      <a:pt x="16" y="19"/>
                      <a:pt x="16" y="18"/>
                    </a:cubicBezTo>
                    <a:cubicBezTo>
                      <a:pt x="16" y="14"/>
                      <a:pt x="16" y="14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4" name="Gruppieren 173"/>
            <p:cNvGrpSpPr/>
            <p:nvPr/>
          </p:nvGrpSpPr>
          <p:grpSpPr>
            <a:xfrm>
              <a:off x="6627814" y="3037693"/>
              <a:ext cx="304801" cy="61913"/>
              <a:chOff x="6627813" y="3468688"/>
              <a:chExt cx="304801" cy="82550"/>
            </a:xfrm>
            <a:solidFill>
              <a:schemeClr val="accent5"/>
            </a:solidFill>
          </p:grpSpPr>
          <p:sp>
            <p:nvSpPr>
              <p:cNvPr id="112" name="Freeform 137"/>
              <p:cNvSpPr>
                <a:spLocks noEditPoints="1"/>
              </p:cNvSpPr>
              <p:nvPr/>
            </p:nvSpPr>
            <p:spPr bwMode="auto">
              <a:xfrm>
                <a:off x="6627813" y="3468688"/>
                <a:ext cx="57150" cy="74613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17"/>
                  </a:cxn>
                  <a:cxn ang="0">
                    <a:pos x="20" y="17"/>
                  </a:cxn>
                  <a:cxn ang="0">
                    <a:pos x="20" y="26"/>
                  </a:cxn>
                  <a:cxn ang="0">
                    <a:pos x="17" y="26"/>
                  </a:cxn>
                  <a:cxn ang="0">
                    <a:pos x="17" y="20"/>
                  </a:cxn>
                  <a:cxn ang="0">
                    <a:pos x="3" y="20"/>
                  </a:cxn>
                  <a:cxn ang="0">
                    <a:pos x="3" y="26"/>
                  </a:cxn>
                  <a:cxn ang="0">
                    <a:pos x="1" y="26"/>
                  </a:cxn>
                  <a:cxn ang="0">
                    <a:pos x="0" y="17"/>
                  </a:cxn>
                  <a:cxn ang="0">
                    <a:pos x="2" y="17"/>
                  </a:cxn>
                  <a:cxn ang="0">
                    <a:pos x="4" y="13"/>
                  </a:cxn>
                  <a:cxn ang="0">
                    <a:pos x="5" y="5"/>
                  </a:cxn>
                  <a:cxn ang="0">
                    <a:pos x="5" y="0"/>
                  </a:cxn>
                  <a:cxn ang="0">
                    <a:pos x="18" y="0"/>
                  </a:cxn>
                  <a:cxn ang="0">
                    <a:pos x="8" y="6"/>
                  </a:cxn>
                  <a:cxn ang="0">
                    <a:pos x="7" y="13"/>
                  </a:cxn>
                  <a:cxn ang="0">
                    <a:pos x="6" y="17"/>
                  </a:cxn>
                  <a:cxn ang="0">
                    <a:pos x="15" y="17"/>
                  </a:cxn>
                  <a:cxn ang="0">
                    <a:pos x="15" y="3"/>
                  </a:cxn>
                  <a:cxn ang="0">
                    <a:pos x="8" y="3"/>
                  </a:cxn>
                  <a:cxn ang="0">
                    <a:pos x="8" y="6"/>
                  </a:cxn>
                </a:cxnLst>
                <a:rect l="0" t="0" r="r" b="b"/>
                <a:pathLst>
                  <a:path w="20" h="26">
                    <a:moveTo>
                      <a:pt x="18" y="0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3" y="16"/>
                      <a:pt x="3" y="15"/>
                      <a:pt x="4" y="13"/>
                    </a:cubicBezTo>
                    <a:cubicBezTo>
                      <a:pt x="5" y="11"/>
                      <a:pt x="5" y="8"/>
                      <a:pt x="5" y="5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8" y="0"/>
                      <a:pt x="18" y="0"/>
                      <a:pt x="18" y="0"/>
                    </a:cubicBezTo>
                    <a:close/>
                    <a:moveTo>
                      <a:pt x="8" y="6"/>
                    </a:moveTo>
                    <a:cubicBezTo>
                      <a:pt x="8" y="9"/>
                      <a:pt x="8" y="11"/>
                      <a:pt x="7" y="13"/>
                    </a:cubicBezTo>
                    <a:cubicBezTo>
                      <a:pt x="7" y="15"/>
                      <a:pt x="6" y="16"/>
                      <a:pt x="6" y="17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8" y="3"/>
                      <a:pt x="8" y="3"/>
                      <a:pt x="8" y="3"/>
                    </a:cubicBez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138"/>
              <p:cNvSpPr>
                <a:spLocks noEditPoints="1"/>
              </p:cNvSpPr>
              <p:nvPr/>
            </p:nvSpPr>
            <p:spPr bwMode="auto">
              <a:xfrm>
                <a:off x="6691313" y="3468688"/>
                <a:ext cx="47625" cy="57150"/>
              </a:xfrm>
              <a:custGeom>
                <a:avLst/>
                <a:gdLst/>
                <a:ahLst/>
                <a:cxnLst>
                  <a:cxn ang="0">
                    <a:pos x="17" y="20"/>
                  </a:cxn>
                  <a:cxn ang="0">
                    <a:pos x="13" y="20"/>
                  </a:cxn>
                  <a:cxn ang="0">
                    <a:pos x="13" y="12"/>
                  </a:cxn>
                  <a:cxn ang="0">
                    <a:pos x="11" y="12"/>
                  </a:cxn>
                  <a:cxn ang="0">
                    <a:pos x="7" y="13"/>
                  </a:cxn>
                  <a:cxn ang="0">
                    <a:pos x="5" y="18"/>
                  </a:cxn>
                  <a:cxn ang="0">
                    <a:pos x="4" y="20"/>
                  </a:cxn>
                  <a:cxn ang="0">
                    <a:pos x="0" y="20"/>
                  </a:cxn>
                  <a:cxn ang="0">
                    <a:pos x="1" y="18"/>
                  </a:cxn>
                  <a:cxn ang="0">
                    <a:pos x="4" y="12"/>
                  </a:cxn>
                  <a:cxn ang="0">
                    <a:pos x="7" y="11"/>
                  </a:cxn>
                  <a:cxn ang="0">
                    <a:pos x="7" y="10"/>
                  </a:cxn>
                  <a:cxn ang="0">
                    <a:pos x="1" y="6"/>
                  </a:cxn>
                  <a:cxn ang="0">
                    <a:pos x="4" y="1"/>
                  </a:cxn>
                  <a:cxn ang="0">
                    <a:pos x="11" y="0"/>
                  </a:cxn>
                  <a:cxn ang="0">
                    <a:pos x="17" y="0"/>
                  </a:cxn>
                  <a:cxn ang="0">
                    <a:pos x="17" y="20"/>
                  </a:cxn>
                  <a:cxn ang="0">
                    <a:pos x="13" y="3"/>
                  </a:cxn>
                  <a:cxn ang="0">
                    <a:pos x="10" y="2"/>
                  </a:cxn>
                  <a:cxn ang="0">
                    <a:pos x="5" y="6"/>
                  </a:cxn>
                  <a:cxn ang="0">
                    <a:pos x="10" y="9"/>
                  </a:cxn>
                  <a:cxn ang="0">
                    <a:pos x="13" y="9"/>
                  </a:cxn>
                  <a:cxn ang="0">
                    <a:pos x="13" y="3"/>
                  </a:cxn>
                </a:cxnLst>
                <a:rect l="0" t="0" r="r" b="b"/>
                <a:pathLst>
                  <a:path w="17" h="20">
                    <a:moveTo>
                      <a:pt x="17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9" y="12"/>
                      <a:pt x="8" y="12"/>
                      <a:pt x="7" y="13"/>
                    </a:cubicBezTo>
                    <a:cubicBezTo>
                      <a:pt x="6" y="14"/>
                      <a:pt x="5" y="16"/>
                      <a:pt x="5" y="18"/>
                    </a:cubicBezTo>
                    <a:cubicBezTo>
                      <a:pt x="4" y="19"/>
                      <a:pt x="4" y="19"/>
                      <a:pt x="4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1" y="19"/>
                      <a:pt x="1" y="18"/>
                      <a:pt x="1" y="18"/>
                    </a:cubicBezTo>
                    <a:cubicBezTo>
                      <a:pt x="2" y="16"/>
                      <a:pt x="3" y="13"/>
                      <a:pt x="4" y="12"/>
                    </a:cubicBezTo>
                    <a:cubicBezTo>
                      <a:pt x="5" y="11"/>
                      <a:pt x="6" y="11"/>
                      <a:pt x="7" y="11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4" y="10"/>
                      <a:pt x="1" y="9"/>
                      <a:pt x="1" y="6"/>
                    </a:cubicBezTo>
                    <a:cubicBezTo>
                      <a:pt x="1" y="4"/>
                      <a:pt x="3" y="2"/>
                      <a:pt x="4" y="1"/>
                    </a:cubicBezTo>
                    <a:cubicBezTo>
                      <a:pt x="6" y="0"/>
                      <a:pt x="8" y="0"/>
                      <a:pt x="11" y="0"/>
                    </a:cubicBezTo>
                    <a:cubicBezTo>
                      <a:pt x="13" y="0"/>
                      <a:pt x="15" y="0"/>
                      <a:pt x="17" y="0"/>
                    </a:cubicBezTo>
                    <a:cubicBezTo>
                      <a:pt x="17" y="20"/>
                      <a:pt x="17" y="20"/>
                      <a:pt x="17" y="20"/>
                    </a:cubicBezTo>
                    <a:close/>
                    <a:moveTo>
                      <a:pt x="13" y="3"/>
                    </a:moveTo>
                    <a:cubicBezTo>
                      <a:pt x="12" y="3"/>
                      <a:pt x="12" y="2"/>
                      <a:pt x="10" y="2"/>
                    </a:cubicBezTo>
                    <a:cubicBezTo>
                      <a:pt x="8" y="2"/>
                      <a:pt x="5" y="3"/>
                      <a:pt x="5" y="6"/>
                    </a:cubicBezTo>
                    <a:cubicBezTo>
                      <a:pt x="5" y="8"/>
                      <a:pt x="8" y="9"/>
                      <a:pt x="10" y="9"/>
                    </a:cubicBezTo>
                    <a:cubicBezTo>
                      <a:pt x="12" y="9"/>
                      <a:pt x="12" y="9"/>
                      <a:pt x="13" y="9"/>
                    </a:cubicBezTo>
                    <a:cubicBezTo>
                      <a:pt x="13" y="3"/>
                      <a:pt x="13" y="3"/>
                      <a:pt x="13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139"/>
              <p:cNvSpPr>
                <a:spLocks/>
              </p:cNvSpPr>
              <p:nvPr/>
            </p:nvSpPr>
            <p:spPr bwMode="auto">
              <a:xfrm>
                <a:off x="6756401" y="3468688"/>
                <a:ext cx="44450" cy="5715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9"/>
                  </a:cxn>
                  <a:cxn ang="0">
                    <a:pos x="4" y="9"/>
                  </a:cxn>
                  <a:cxn ang="0">
                    <a:pos x="11" y="0"/>
                  </a:cxn>
                  <a:cxn ang="0">
                    <a:pos x="15" y="0"/>
                  </a:cxn>
                  <a:cxn ang="0">
                    <a:pos x="7" y="9"/>
                  </a:cxn>
                  <a:cxn ang="0">
                    <a:pos x="14" y="15"/>
                  </a:cxn>
                  <a:cxn ang="0">
                    <a:pos x="16" y="20"/>
                  </a:cxn>
                  <a:cxn ang="0">
                    <a:pos x="12" y="20"/>
                  </a:cxn>
                  <a:cxn ang="0">
                    <a:pos x="10" y="16"/>
                  </a:cxn>
                  <a:cxn ang="0">
                    <a:pos x="4" y="11"/>
                  </a:cxn>
                  <a:cxn ang="0">
                    <a:pos x="3" y="11"/>
                  </a:cxn>
                  <a:cxn ang="0">
                    <a:pos x="3" y="20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16" h="20">
                    <a:moveTo>
                      <a:pt x="3" y="0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10" y="9"/>
                      <a:pt x="12" y="11"/>
                      <a:pt x="14" y="15"/>
                    </a:cubicBezTo>
                    <a:cubicBezTo>
                      <a:pt x="14" y="16"/>
                      <a:pt x="15" y="18"/>
                      <a:pt x="16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1" y="19"/>
                      <a:pt x="11" y="17"/>
                      <a:pt x="10" y="16"/>
                    </a:cubicBezTo>
                    <a:cubicBezTo>
                      <a:pt x="9" y="13"/>
                      <a:pt x="7" y="11"/>
                      <a:pt x="4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40"/>
              <p:cNvSpPr>
                <a:spLocks/>
              </p:cNvSpPr>
              <p:nvPr/>
            </p:nvSpPr>
            <p:spPr bwMode="auto">
              <a:xfrm>
                <a:off x="6800851" y="3468688"/>
                <a:ext cx="53975" cy="825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9" y="12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1" y="12"/>
                  </a:cxn>
                  <a:cxn ang="0">
                    <a:pos x="15" y="0"/>
                  </a:cxn>
                  <a:cxn ang="0">
                    <a:pos x="19" y="0"/>
                  </a:cxn>
                  <a:cxn ang="0">
                    <a:pos x="13" y="14"/>
                  </a:cxn>
                  <a:cxn ang="0">
                    <a:pos x="7" y="26"/>
                  </a:cxn>
                  <a:cxn ang="0">
                    <a:pos x="2" y="29"/>
                  </a:cxn>
                  <a:cxn ang="0">
                    <a:pos x="2" y="26"/>
                  </a:cxn>
                  <a:cxn ang="0">
                    <a:pos x="5" y="24"/>
                  </a:cxn>
                  <a:cxn ang="0">
                    <a:pos x="8" y="20"/>
                  </a:cxn>
                  <a:cxn ang="0">
                    <a:pos x="8" y="19"/>
                  </a:cxn>
                  <a:cxn ang="0">
                    <a:pos x="8" y="18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19" h="29">
                    <a:moveTo>
                      <a:pt x="4" y="0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9" y="13"/>
                      <a:pt x="10" y="15"/>
                      <a:pt x="10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5"/>
                      <a:pt x="11" y="13"/>
                      <a:pt x="11" y="12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1" y="21"/>
                      <a:pt x="9" y="24"/>
                      <a:pt x="7" y="26"/>
                    </a:cubicBezTo>
                    <a:cubicBezTo>
                      <a:pt x="5" y="28"/>
                      <a:pt x="3" y="28"/>
                      <a:pt x="2" y="29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2" y="25"/>
                      <a:pt x="4" y="25"/>
                      <a:pt x="5" y="24"/>
                    </a:cubicBezTo>
                    <a:cubicBezTo>
                      <a:pt x="6" y="23"/>
                      <a:pt x="7" y="22"/>
                      <a:pt x="8" y="20"/>
                    </a:cubicBezTo>
                    <a:cubicBezTo>
                      <a:pt x="8" y="20"/>
                      <a:pt x="8" y="19"/>
                      <a:pt x="8" y="19"/>
                    </a:cubicBezTo>
                    <a:cubicBezTo>
                      <a:pt x="8" y="19"/>
                      <a:pt x="8" y="19"/>
                      <a:pt x="8" y="1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41"/>
              <p:cNvSpPr>
                <a:spLocks noEditPoints="1"/>
              </p:cNvSpPr>
              <p:nvPr/>
            </p:nvSpPr>
            <p:spPr bwMode="auto">
              <a:xfrm>
                <a:off x="6864351" y="3468688"/>
                <a:ext cx="68263" cy="5715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8"/>
                  </a:cxn>
                  <a:cxn ang="0">
                    <a:pos x="7" y="8"/>
                  </a:cxn>
                  <a:cxn ang="0">
                    <a:pos x="15" y="0"/>
                  </a:cxn>
                  <a:cxn ang="0">
                    <a:pos x="24" y="10"/>
                  </a:cxn>
                  <a:cxn ang="0">
                    <a:pos x="15" y="20"/>
                  </a:cxn>
                  <a:cxn ang="0">
                    <a:pos x="7" y="11"/>
                  </a:cxn>
                  <a:cxn ang="0">
                    <a:pos x="3" y="11"/>
                  </a:cxn>
                  <a:cxn ang="0">
                    <a:pos x="3" y="20"/>
                  </a:cxn>
                  <a:cxn ang="0">
                    <a:pos x="0" y="20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20" y="10"/>
                  </a:cxn>
                  <a:cxn ang="0">
                    <a:pos x="15" y="3"/>
                  </a:cxn>
                  <a:cxn ang="0">
                    <a:pos x="10" y="10"/>
                  </a:cxn>
                  <a:cxn ang="0">
                    <a:pos x="15" y="18"/>
                  </a:cxn>
                  <a:cxn ang="0">
                    <a:pos x="20" y="10"/>
                  </a:cxn>
                </a:cxnLst>
                <a:rect l="0" t="0" r="r" b="b"/>
                <a:pathLst>
                  <a:path w="24" h="20">
                    <a:moveTo>
                      <a:pt x="3" y="0"/>
                    </a:moveTo>
                    <a:cubicBezTo>
                      <a:pt x="3" y="8"/>
                      <a:pt x="3" y="8"/>
                      <a:pt x="3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3"/>
                      <a:pt x="11" y="0"/>
                      <a:pt x="15" y="0"/>
                    </a:cubicBezTo>
                    <a:cubicBezTo>
                      <a:pt x="20" y="0"/>
                      <a:pt x="24" y="4"/>
                      <a:pt x="24" y="10"/>
                    </a:cubicBezTo>
                    <a:cubicBezTo>
                      <a:pt x="24" y="16"/>
                      <a:pt x="20" y="20"/>
                      <a:pt x="15" y="20"/>
                    </a:cubicBezTo>
                    <a:cubicBezTo>
                      <a:pt x="10" y="20"/>
                      <a:pt x="7" y="17"/>
                      <a:pt x="7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  <a:moveTo>
                      <a:pt x="20" y="10"/>
                    </a:moveTo>
                    <a:cubicBezTo>
                      <a:pt x="20" y="6"/>
                      <a:pt x="19" y="3"/>
                      <a:pt x="15" y="3"/>
                    </a:cubicBezTo>
                    <a:cubicBezTo>
                      <a:pt x="12" y="3"/>
                      <a:pt x="10" y="6"/>
                      <a:pt x="10" y="10"/>
                    </a:cubicBezTo>
                    <a:cubicBezTo>
                      <a:pt x="10" y="14"/>
                      <a:pt x="12" y="18"/>
                      <a:pt x="15" y="18"/>
                    </a:cubicBezTo>
                    <a:cubicBezTo>
                      <a:pt x="19" y="18"/>
                      <a:pt x="20" y="14"/>
                      <a:pt x="2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5" name="Gruppieren 172"/>
            <p:cNvGrpSpPr/>
            <p:nvPr/>
          </p:nvGrpSpPr>
          <p:grpSpPr>
            <a:xfrm>
              <a:off x="3140077" y="2299506"/>
              <a:ext cx="327025" cy="57150"/>
              <a:chOff x="3140076" y="2484438"/>
              <a:chExt cx="327025" cy="76200"/>
            </a:xfrm>
            <a:solidFill>
              <a:schemeClr val="accent5"/>
            </a:solidFill>
          </p:grpSpPr>
          <p:sp>
            <p:nvSpPr>
              <p:cNvPr id="105" name="Freeform 142"/>
              <p:cNvSpPr>
                <a:spLocks/>
              </p:cNvSpPr>
              <p:nvPr/>
            </p:nvSpPr>
            <p:spPr bwMode="auto">
              <a:xfrm>
                <a:off x="3140076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4" y="18"/>
                  </a:cxn>
                  <a:cxn ang="0">
                    <a:pos x="9" y="19"/>
                  </a:cxn>
                  <a:cxn ang="0">
                    <a:pos x="0" y="10"/>
                  </a:cxn>
                  <a:cxn ang="0">
                    <a:pos x="10" y="0"/>
                  </a:cxn>
                  <a:cxn ang="0">
                    <a:pos x="14" y="1"/>
                  </a:cxn>
                  <a:cxn ang="0">
                    <a:pos x="14" y="4"/>
                  </a:cxn>
                  <a:cxn ang="0">
                    <a:pos x="10" y="3"/>
                  </a:cxn>
                  <a:cxn ang="0">
                    <a:pos x="4" y="10"/>
                  </a:cxn>
                  <a:cxn ang="0">
                    <a:pos x="10" y="16"/>
                  </a:cxn>
                  <a:cxn ang="0">
                    <a:pos x="14" y="16"/>
                  </a:cxn>
                  <a:cxn ang="0">
                    <a:pos x="14" y="18"/>
                  </a:cxn>
                </a:cxnLst>
                <a:rect l="0" t="0" r="r" b="b"/>
                <a:pathLst>
                  <a:path w="14" h="19">
                    <a:moveTo>
                      <a:pt x="14" y="18"/>
                    </a:moveTo>
                    <a:cubicBezTo>
                      <a:pt x="14" y="18"/>
                      <a:pt x="12" y="19"/>
                      <a:pt x="9" y="19"/>
                    </a:cubicBezTo>
                    <a:cubicBezTo>
                      <a:pt x="4" y="19"/>
                      <a:pt x="0" y="15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2" y="0"/>
                      <a:pt x="14" y="1"/>
                      <a:pt x="14" y="1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3"/>
                      <a:pt x="12" y="3"/>
                      <a:pt x="10" y="3"/>
                    </a:cubicBezTo>
                    <a:cubicBezTo>
                      <a:pt x="6" y="3"/>
                      <a:pt x="4" y="6"/>
                      <a:pt x="4" y="10"/>
                    </a:cubicBezTo>
                    <a:cubicBezTo>
                      <a:pt x="4" y="14"/>
                      <a:pt x="6" y="16"/>
                      <a:pt x="10" y="16"/>
                    </a:cubicBezTo>
                    <a:cubicBezTo>
                      <a:pt x="12" y="16"/>
                      <a:pt x="13" y="16"/>
                      <a:pt x="14" y="16"/>
                    </a:cubicBezTo>
                    <a:lnTo>
                      <a:pt x="14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43"/>
              <p:cNvSpPr>
                <a:spLocks/>
              </p:cNvSpPr>
              <p:nvPr/>
            </p:nvSpPr>
            <p:spPr bwMode="auto">
              <a:xfrm>
                <a:off x="3190876" y="2509838"/>
                <a:ext cx="42863" cy="5080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32"/>
                  </a:cxn>
                  <a:cxn ang="0">
                    <a:pos x="22" y="32"/>
                  </a:cxn>
                  <a:cxn ang="0">
                    <a:pos x="22" y="4"/>
                  </a:cxn>
                  <a:cxn ang="0">
                    <a:pos x="6" y="4"/>
                  </a:cxn>
                  <a:cxn ang="0">
                    <a:pos x="6" y="32"/>
                  </a:cxn>
                  <a:cxn ang="0">
                    <a:pos x="0" y="32"/>
                  </a:cxn>
                  <a:cxn ang="0">
                    <a:pos x="0" y="0"/>
                  </a:cxn>
                  <a:cxn ang="0">
                    <a:pos x="27" y="0"/>
                  </a:cxn>
                </a:cxnLst>
                <a:rect l="0" t="0" r="r" b="b"/>
                <a:pathLst>
                  <a:path w="27" h="32">
                    <a:moveTo>
                      <a:pt x="27" y="0"/>
                    </a:moveTo>
                    <a:lnTo>
                      <a:pt x="27" y="32"/>
                    </a:lnTo>
                    <a:lnTo>
                      <a:pt x="22" y="32"/>
                    </a:lnTo>
                    <a:lnTo>
                      <a:pt x="22" y="4"/>
                    </a:lnTo>
                    <a:lnTo>
                      <a:pt x="6" y="4"/>
                    </a:lnTo>
                    <a:lnTo>
                      <a:pt x="6" y="32"/>
                    </a:lnTo>
                    <a:lnTo>
                      <a:pt x="0" y="32"/>
                    </a:lnTo>
                    <a:lnTo>
                      <a:pt x="0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4"/>
              <p:cNvSpPr>
                <a:spLocks noEditPoints="1"/>
              </p:cNvSpPr>
              <p:nvPr/>
            </p:nvSpPr>
            <p:spPr bwMode="auto">
              <a:xfrm>
                <a:off x="3244851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3" y="14"/>
                  </a:cxn>
                  <a:cxn ang="0">
                    <a:pos x="14" y="19"/>
                  </a:cxn>
                  <a:cxn ang="0">
                    <a:pos x="11" y="19"/>
                  </a:cxn>
                  <a:cxn ang="0">
                    <a:pos x="11" y="16"/>
                  </a:cxn>
                  <a:cxn ang="0">
                    <a:pos x="10" y="16"/>
                  </a:cxn>
                  <a:cxn ang="0">
                    <a:pos x="5" y="19"/>
                  </a:cxn>
                  <a:cxn ang="0">
                    <a:pos x="0" y="14"/>
                  </a:cxn>
                  <a:cxn ang="0">
                    <a:pos x="10" y="7"/>
                  </a:cxn>
                  <a:cxn ang="0">
                    <a:pos x="10" y="7"/>
                  </a:cxn>
                  <a:cxn ang="0">
                    <a:pos x="6" y="3"/>
                  </a:cxn>
                  <a:cxn ang="0">
                    <a:pos x="2" y="4"/>
                  </a:cxn>
                  <a:cxn ang="0">
                    <a:pos x="1" y="2"/>
                  </a:cxn>
                  <a:cxn ang="0">
                    <a:pos x="7" y="0"/>
                  </a:cxn>
                  <a:cxn ang="0">
                    <a:pos x="13" y="8"/>
                  </a:cxn>
                  <a:cxn ang="0">
                    <a:pos x="13" y="14"/>
                  </a:cxn>
                  <a:cxn ang="0">
                    <a:pos x="10" y="10"/>
                  </a:cxn>
                  <a:cxn ang="0">
                    <a:pos x="3" y="14"/>
                  </a:cxn>
                  <a:cxn ang="0">
                    <a:pos x="6" y="17"/>
                  </a:cxn>
                  <a:cxn ang="0">
                    <a:pos x="10" y="14"/>
                  </a:cxn>
                  <a:cxn ang="0">
                    <a:pos x="10" y="13"/>
                  </a:cxn>
                  <a:cxn ang="0">
                    <a:pos x="10" y="10"/>
                  </a:cxn>
                </a:cxnLst>
                <a:rect l="0" t="0" r="r" b="b"/>
                <a:pathLst>
                  <a:path w="14" h="19">
                    <a:moveTo>
                      <a:pt x="13" y="14"/>
                    </a:moveTo>
                    <a:cubicBezTo>
                      <a:pt x="13" y="16"/>
                      <a:pt x="14" y="17"/>
                      <a:pt x="14" y="19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9" y="18"/>
                      <a:pt x="8" y="19"/>
                      <a:pt x="5" y="19"/>
                    </a:cubicBezTo>
                    <a:cubicBezTo>
                      <a:pt x="1" y="19"/>
                      <a:pt x="0" y="16"/>
                      <a:pt x="0" y="14"/>
                    </a:cubicBezTo>
                    <a:cubicBezTo>
                      <a:pt x="0" y="10"/>
                      <a:pt x="3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0" y="5"/>
                      <a:pt x="10" y="3"/>
                      <a:pt x="6" y="3"/>
                    </a:cubicBezTo>
                    <a:cubicBezTo>
                      <a:pt x="5" y="3"/>
                      <a:pt x="3" y="3"/>
                      <a:pt x="2" y="4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4" y="0"/>
                      <a:pt x="7" y="0"/>
                    </a:cubicBezTo>
                    <a:cubicBezTo>
                      <a:pt x="12" y="0"/>
                      <a:pt x="13" y="4"/>
                      <a:pt x="13" y="8"/>
                    </a:cubicBezTo>
                    <a:cubicBezTo>
                      <a:pt x="13" y="14"/>
                      <a:pt x="13" y="14"/>
                      <a:pt x="13" y="14"/>
                    </a:cubicBezTo>
                    <a:close/>
                    <a:moveTo>
                      <a:pt x="10" y="10"/>
                    </a:moveTo>
                    <a:cubicBezTo>
                      <a:pt x="7" y="9"/>
                      <a:pt x="3" y="10"/>
                      <a:pt x="3" y="14"/>
                    </a:cubicBezTo>
                    <a:cubicBezTo>
                      <a:pt x="3" y="16"/>
                      <a:pt x="4" y="17"/>
                      <a:pt x="6" y="17"/>
                    </a:cubicBezTo>
                    <a:cubicBezTo>
                      <a:pt x="8" y="17"/>
                      <a:pt x="10" y="15"/>
                      <a:pt x="10" y="14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45"/>
              <p:cNvSpPr>
                <a:spLocks/>
              </p:cNvSpPr>
              <p:nvPr/>
            </p:nvSpPr>
            <p:spPr bwMode="auto">
              <a:xfrm>
                <a:off x="3294063" y="2506663"/>
                <a:ext cx="39688" cy="53975"/>
              </a:xfrm>
              <a:custGeom>
                <a:avLst/>
                <a:gdLst/>
                <a:ahLst/>
                <a:cxnLst>
                  <a:cxn ang="0">
                    <a:pos x="14" y="18"/>
                  </a:cxn>
                  <a:cxn ang="0">
                    <a:pos x="9" y="19"/>
                  </a:cxn>
                  <a:cxn ang="0">
                    <a:pos x="0" y="10"/>
                  </a:cxn>
                  <a:cxn ang="0">
                    <a:pos x="10" y="0"/>
                  </a:cxn>
                  <a:cxn ang="0">
                    <a:pos x="14" y="1"/>
                  </a:cxn>
                  <a:cxn ang="0">
                    <a:pos x="14" y="4"/>
                  </a:cxn>
                  <a:cxn ang="0">
                    <a:pos x="10" y="3"/>
                  </a:cxn>
                  <a:cxn ang="0">
                    <a:pos x="4" y="10"/>
                  </a:cxn>
                  <a:cxn ang="0">
                    <a:pos x="10" y="16"/>
                  </a:cxn>
                  <a:cxn ang="0">
                    <a:pos x="14" y="16"/>
                  </a:cxn>
                  <a:cxn ang="0">
                    <a:pos x="14" y="18"/>
                  </a:cxn>
                </a:cxnLst>
                <a:rect l="0" t="0" r="r" b="b"/>
                <a:pathLst>
                  <a:path w="14" h="19">
                    <a:moveTo>
                      <a:pt x="14" y="18"/>
                    </a:moveTo>
                    <a:cubicBezTo>
                      <a:pt x="13" y="18"/>
                      <a:pt x="12" y="19"/>
                      <a:pt x="9" y="19"/>
                    </a:cubicBezTo>
                    <a:cubicBezTo>
                      <a:pt x="4" y="19"/>
                      <a:pt x="0" y="15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2" y="0"/>
                      <a:pt x="14" y="1"/>
                      <a:pt x="14" y="1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3"/>
                      <a:pt x="12" y="3"/>
                      <a:pt x="10" y="3"/>
                    </a:cubicBezTo>
                    <a:cubicBezTo>
                      <a:pt x="6" y="3"/>
                      <a:pt x="4" y="6"/>
                      <a:pt x="4" y="10"/>
                    </a:cubicBezTo>
                    <a:cubicBezTo>
                      <a:pt x="4" y="14"/>
                      <a:pt x="6" y="16"/>
                      <a:pt x="10" y="16"/>
                    </a:cubicBezTo>
                    <a:cubicBezTo>
                      <a:pt x="12" y="16"/>
                      <a:pt x="13" y="16"/>
                      <a:pt x="14" y="16"/>
                    </a:cubicBezTo>
                    <a:lnTo>
                      <a:pt x="14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46"/>
              <p:cNvSpPr>
                <a:spLocks/>
              </p:cNvSpPr>
              <p:nvPr/>
            </p:nvSpPr>
            <p:spPr bwMode="auto">
              <a:xfrm>
                <a:off x="3344863" y="2509838"/>
                <a:ext cx="42863" cy="5080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7"/>
                  </a:cxn>
                  <a:cxn ang="0">
                    <a:pos x="3" y="14"/>
                  </a:cxn>
                  <a:cxn ang="0">
                    <a:pos x="3" y="14"/>
                  </a:cxn>
                  <a:cxn ang="0">
                    <a:pos x="6" y="9"/>
                  </a:cxn>
                  <a:cxn ang="0">
                    <a:pos x="11" y="0"/>
                  </a:cxn>
                  <a:cxn ang="0">
                    <a:pos x="15" y="0"/>
                  </a:cxn>
                  <a:cxn ang="0">
                    <a:pos x="15" y="18"/>
                  </a:cxn>
                  <a:cxn ang="0">
                    <a:pos x="12" y="18"/>
                  </a:cxn>
                  <a:cxn ang="0">
                    <a:pos x="12" y="10"/>
                  </a:cxn>
                  <a:cxn ang="0">
                    <a:pos x="12" y="3"/>
                  </a:cxn>
                  <a:cxn ang="0">
                    <a:pos x="12" y="3"/>
                  </a:cxn>
                  <a:cxn ang="0">
                    <a:pos x="9" y="8"/>
                  </a:cxn>
                  <a:cxn ang="0">
                    <a:pos x="4" y="18"/>
                  </a:cxn>
                  <a:cxn ang="0">
                    <a:pos x="0" y="18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15" h="18">
                    <a:moveTo>
                      <a:pt x="3" y="0"/>
                    </a:moveTo>
                    <a:cubicBezTo>
                      <a:pt x="3" y="7"/>
                      <a:pt x="3" y="7"/>
                      <a:pt x="3" y="7"/>
                    </a:cubicBezTo>
                    <a:cubicBezTo>
                      <a:pt x="3" y="10"/>
                      <a:pt x="3" y="12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4" y="12"/>
                      <a:pt x="5" y="11"/>
                      <a:pt x="6" y="9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7"/>
                      <a:pt x="12" y="6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1" y="5"/>
                      <a:pt x="10" y="7"/>
                      <a:pt x="9" y="8"/>
                    </a:cubicBezTo>
                    <a:cubicBezTo>
                      <a:pt x="8" y="11"/>
                      <a:pt x="6" y="14"/>
                      <a:pt x="4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47"/>
              <p:cNvSpPr>
                <a:spLocks noEditPoints="1"/>
              </p:cNvSpPr>
              <p:nvPr/>
            </p:nvSpPr>
            <p:spPr bwMode="auto">
              <a:xfrm>
                <a:off x="3398838" y="2484438"/>
                <a:ext cx="47625" cy="76200"/>
              </a:xfrm>
              <a:custGeom>
                <a:avLst/>
                <a:gdLst/>
                <a:ahLst/>
                <a:cxnLst>
                  <a:cxn ang="0">
                    <a:pos x="15" y="3"/>
                  </a:cxn>
                  <a:cxn ang="0">
                    <a:pos x="11" y="4"/>
                  </a:cxn>
                  <a:cxn ang="0">
                    <a:pos x="5" y="7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9" y="9"/>
                  </a:cxn>
                  <a:cxn ang="0">
                    <a:pos x="17" y="18"/>
                  </a:cxn>
                  <a:cxn ang="0">
                    <a:pos x="9" y="27"/>
                  </a:cxn>
                  <a:cxn ang="0">
                    <a:pos x="0" y="15"/>
                  </a:cxn>
                  <a:cxn ang="0">
                    <a:pos x="3" y="5"/>
                  </a:cxn>
                  <a:cxn ang="0">
                    <a:pos x="11" y="1"/>
                  </a:cxn>
                  <a:cxn ang="0">
                    <a:pos x="15" y="0"/>
                  </a:cxn>
                  <a:cxn ang="0">
                    <a:pos x="15" y="3"/>
                  </a:cxn>
                  <a:cxn ang="0">
                    <a:pos x="9" y="11"/>
                  </a:cxn>
                  <a:cxn ang="0">
                    <a:pos x="4" y="14"/>
                  </a:cxn>
                  <a:cxn ang="0">
                    <a:pos x="4" y="17"/>
                  </a:cxn>
                  <a:cxn ang="0">
                    <a:pos x="9" y="25"/>
                  </a:cxn>
                  <a:cxn ang="0">
                    <a:pos x="13" y="18"/>
                  </a:cxn>
                  <a:cxn ang="0">
                    <a:pos x="9" y="11"/>
                  </a:cxn>
                </a:cxnLst>
                <a:rect l="0" t="0" r="r" b="b"/>
                <a:pathLst>
                  <a:path w="17" h="27">
                    <a:moveTo>
                      <a:pt x="15" y="3"/>
                    </a:moveTo>
                    <a:cubicBezTo>
                      <a:pt x="14" y="3"/>
                      <a:pt x="12" y="3"/>
                      <a:pt x="11" y="4"/>
                    </a:cubicBezTo>
                    <a:cubicBezTo>
                      <a:pt x="8" y="4"/>
                      <a:pt x="6" y="5"/>
                      <a:pt x="5" y="7"/>
                    </a:cubicBezTo>
                    <a:cubicBezTo>
                      <a:pt x="4" y="9"/>
                      <a:pt x="3" y="11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0"/>
                      <a:pt x="7" y="9"/>
                      <a:pt x="9" y="9"/>
                    </a:cubicBezTo>
                    <a:cubicBezTo>
                      <a:pt x="14" y="9"/>
                      <a:pt x="17" y="12"/>
                      <a:pt x="17" y="18"/>
                    </a:cubicBezTo>
                    <a:cubicBezTo>
                      <a:pt x="17" y="23"/>
                      <a:pt x="14" y="27"/>
                      <a:pt x="9" y="27"/>
                    </a:cubicBezTo>
                    <a:cubicBezTo>
                      <a:pt x="2" y="27"/>
                      <a:pt x="0" y="21"/>
                      <a:pt x="0" y="15"/>
                    </a:cubicBezTo>
                    <a:cubicBezTo>
                      <a:pt x="0" y="11"/>
                      <a:pt x="1" y="8"/>
                      <a:pt x="3" y="5"/>
                    </a:cubicBezTo>
                    <a:cubicBezTo>
                      <a:pt x="5" y="3"/>
                      <a:pt x="7" y="2"/>
                      <a:pt x="11" y="1"/>
                    </a:cubicBezTo>
                    <a:cubicBezTo>
                      <a:pt x="12" y="1"/>
                      <a:pt x="14" y="1"/>
                      <a:pt x="15" y="0"/>
                    </a:cubicBezTo>
                    <a:lnTo>
                      <a:pt x="15" y="3"/>
                    </a:lnTo>
                    <a:close/>
                    <a:moveTo>
                      <a:pt x="9" y="11"/>
                    </a:moveTo>
                    <a:cubicBezTo>
                      <a:pt x="7" y="11"/>
                      <a:pt x="5" y="12"/>
                      <a:pt x="4" y="14"/>
                    </a:cubicBezTo>
                    <a:cubicBezTo>
                      <a:pt x="4" y="15"/>
                      <a:pt x="4" y="16"/>
                      <a:pt x="4" y="17"/>
                    </a:cubicBezTo>
                    <a:cubicBezTo>
                      <a:pt x="4" y="20"/>
                      <a:pt x="5" y="25"/>
                      <a:pt x="9" y="25"/>
                    </a:cubicBezTo>
                    <a:cubicBezTo>
                      <a:pt x="12" y="25"/>
                      <a:pt x="13" y="21"/>
                      <a:pt x="13" y="18"/>
                    </a:cubicBezTo>
                    <a:cubicBezTo>
                      <a:pt x="13" y="15"/>
                      <a:pt x="12" y="11"/>
                      <a:pt x="9" y="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48"/>
              <p:cNvSpPr>
                <a:spLocks noEditPoints="1"/>
              </p:cNvSpPr>
              <p:nvPr/>
            </p:nvSpPr>
            <p:spPr bwMode="auto">
              <a:xfrm>
                <a:off x="3455988" y="2490788"/>
                <a:ext cx="11113" cy="69850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1" y="25"/>
                  </a:cxn>
                  <a:cxn ang="0">
                    <a:pos x="1" y="7"/>
                  </a:cxn>
                  <a:cxn ang="0">
                    <a:pos x="4" y="7"/>
                  </a:cxn>
                  <a:cxn ang="0">
                    <a:pos x="4" y="25"/>
                  </a:cxn>
                  <a:cxn ang="0">
                    <a:pos x="1" y="25"/>
                  </a:cxn>
                </a:cxnLst>
                <a:rect l="0" t="0" r="r" b="b"/>
                <a:pathLst>
                  <a:path w="4" h="25">
                    <a:moveTo>
                      <a:pt x="4" y="2"/>
                    </a:moveTo>
                    <a:cubicBezTo>
                      <a:pt x="4" y="3"/>
                      <a:pt x="4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4" y="0"/>
                      <a:pt x="4" y="1"/>
                      <a:pt x="4" y="2"/>
                    </a:cubicBezTo>
                    <a:close/>
                    <a:moveTo>
                      <a:pt x="1" y="25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25"/>
                      <a:pt x="4" y="25"/>
                      <a:pt x="4" y="25"/>
                    </a:cubicBezTo>
                    <a:lnTo>
                      <a:pt x="1" y="2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6" name="Gruppieren 166"/>
            <p:cNvGrpSpPr/>
            <p:nvPr/>
          </p:nvGrpSpPr>
          <p:grpSpPr>
            <a:xfrm>
              <a:off x="2343151" y="3984240"/>
              <a:ext cx="927100" cy="104775"/>
              <a:chOff x="2343151" y="4730750"/>
              <a:chExt cx="927100" cy="139700"/>
            </a:xfrm>
            <a:solidFill>
              <a:schemeClr val="accent5"/>
            </a:solidFill>
          </p:grpSpPr>
          <p:sp>
            <p:nvSpPr>
              <p:cNvPr id="97" name="Freeform 149"/>
              <p:cNvSpPr>
                <a:spLocks noEditPoints="1"/>
              </p:cNvSpPr>
              <p:nvPr/>
            </p:nvSpPr>
            <p:spPr bwMode="auto">
              <a:xfrm>
                <a:off x="2343151" y="4733925"/>
                <a:ext cx="476250" cy="112713"/>
              </a:xfrm>
              <a:custGeom>
                <a:avLst/>
                <a:gdLst/>
                <a:ahLst/>
                <a:cxnLst>
                  <a:cxn ang="0">
                    <a:pos x="131" y="36"/>
                  </a:cxn>
                  <a:cxn ang="0">
                    <a:pos x="124" y="33"/>
                  </a:cxn>
                  <a:cxn ang="0">
                    <a:pos x="128" y="6"/>
                  </a:cxn>
                  <a:cxn ang="0">
                    <a:pos x="147" y="6"/>
                  </a:cxn>
                  <a:cxn ang="0">
                    <a:pos x="147" y="10"/>
                  </a:cxn>
                  <a:cxn ang="0">
                    <a:pos x="131" y="22"/>
                  </a:cxn>
                  <a:cxn ang="0">
                    <a:pos x="149" y="37"/>
                  </a:cxn>
                  <a:cxn ang="0">
                    <a:pos x="151" y="26"/>
                  </a:cxn>
                  <a:cxn ang="0">
                    <a:pos x="151" y="14"/>
                  </a:cxn>
                  <a:cxn ang="0">
                    <a:pos x="160" y="20"/>
                  </a:cxn>
                  <a:cxn ang="0">
                    <a:pos x="154" y="24"/>
                  </a:cxn>
                  <a:cxn ang="0">
                    <a:pos x="162" y="16"/>
                  </a:cxn>
                  <a:cxn ang="0">
                    <a:pos x="151" y="10"/>
                  </a:cxn>
                  <a:cxn ang="0">
                    <a:pos x="151" y="7"/>
                  </a:cxn>
                  <a:cxn ang="0">
                    <a:pos x="168" y="5"/>
                  </a:cxn>
                  <a:cxn ang="0">
                    <a:pos x="156" y="3"/>
                  </a:cxn>
                  <a:cxn ang="0">
                    <a:pos x="111" y="6"/>
                  </a:cxn>
                  <a:cxn ang="0">
                    <a:pos x="71" y="3"/>
                  </a:cxn>
                  <a:cxn ang="0">
                    <a:pos x="66" y="6"/>
                  </a:cxn>
                  <a:cxn ang="0">
                    <a:pos x="14" y="3"/>
                  </a:cxn>
                  <a:cxn ang="0">
                    <a:pos x="14" y="39"/>
                  </a:cxn>
                  <a:cxn ang="0">
                    <a:pos x="11" y="32"/>
                  </a:cxn>
                  <a:cxn ang="0">
                    <a:pos x="15" y="6"/>
                  </a:cxn>
                  <a:cxn ang="0">
                    <a:pos x="62" y="7"/>
                  </a:cxn>
                  <a:cxn ang="0">
                    <a:pos x="66" y="39"/>
                  </a:cxn>
                  <a:cxn ang="0">
                    <a:pos x="68" y="32"/>
                  </a:cxn>
                  <a:cxn ang="0">
                    <a:pos x="69" y="6"/>
                  </a:cxn>
                  <a:cxn ang="0">
                    <a:pos x="83" y="16"/>
                  </a:cxn>
                  <a:cxn ang="0">
                    <a:pos x="86" y="21"/>
                  </a:cxn>
                  <a:cxn ang="0">
                    <a:pos x="95" y="37"/>
                  </a:cxn>
                  <a:cxn ang="0">
                    <a:pos x="97" y="23"/>
                  </a:cxn>
                  <a:cxn ang="0">
                    <a:pos x="97" y="7"/>
                  </a:cxn>
                  <a:cxn ang="0">
                    <a:pos x="107" y="7"/>
                  </a:cxn>
                  <a:cxn ang="0">
                    <a:pos x="111" y="39"/>
                  </a:cxn>
                  <a:cxn ang="0">
                    <a:pos x="113" y="24"/>
                  </a:cxn>
                  <a:cxn ang="0">
                    <a:pos x="113" y="8"/>
                  </a:cxn>
                  <a:cxn ang="0">
                    <a:pos x="122" y="6"/>
                  </a:cxn>
                  <a:cxn ang="0">
                    <a:pos x="127" y="40"/>
                  </a:cxn>
                  <a:cxn ang="0">
                    <a:pos x="131" y="36"/>
                  </a:cxn>
                  <a:cxn ang="0">
                    <a:pos x="136" y="21"/>
                  </a:cxn>
                  <a:cxn ang="0">
                    <a:pos x="147" y="14"/>
                  </a:cxn>
                  <a:cxn ang="0">
                    <a:pos x="147" y="27"/>
                  </a:cxn>
                  <a:cxn ang="0">
                    <a:pos x="136" y="21"/>
                  </a:cxn>
                  <a:cxn ang="0">
                    <a:pos x="78" y="22"/>
                  </a:cxn>
                  <a:cxn ang="0">
                    <a:pos x="83" y="20"/>
                  </a:cxn>
                  <a:cxn ang="0">
                    <a:pos x="78" y="22"/>
                  </a:cxn>
                  <a:cxn ang="0">
                    <a:pos x="86" y="18"/>
                  </a:cxn>
                  <a:cxn ang="0">
                    <a:pos x="81" y="6"/>
                  </a:cxn>
                  <a:cxn ang="0">
                    <a:pos x="94" y="6"/>
                  </a:cxn>
                  <a:cxn ang="0">
                    <a:pos x="93" y="24"/>
                  </a:cxn>
                  <a:cxn ang="0">
                    <a:pos x="86" y="18"/>
                  </a:cxn>
                </a:cxnLst>
                <a:rect l="0" t="0" r="r" b="b"/>
                <a:pathLst>
                  <a:path w="168" h="40">
                    <a:moveTo>
                      <a:pt x="131" y="36"/>
                    </a:moveTo>
                    <a:cubicBezTo>
                      <a:pt x="131" y="33"/>
                      <a:pt x="126" y="35"/>
                      <a:pt x="124" y="33"/>
                    </a:cubicBezTo>
                    <a:cubicBezTo>
                      <a:pt x="119" y="26"/>
                      <a:pt x="121" y="10"/>
                      <a:pt x="128" y="6"/>
                    </a:cubicBezTo>
                    <a:cubicBezTo>
                      <a:pt x="135" y="6"/>
                      <a:pt x="141" y="6"/>
                      <a:pt x="147" y="6"/>
                    </a:cubicBezTo>
                    <a:cubicBezTo>
                      <a:pt x="147" y="8"/>
                      <a:pt x="147" y="9"/>
                      <a:pt x="147" y="10"/>
                    </a:cubicBezTo>
                    <a:cubicBezTo>
                      <a:pt x="141" y="13"/>
                      <a:pt x="133" y="14"/>
                      <a:pt x="131" y="22"/>
                    </a:cubicBezTo>
                    <a:cubicBezTo>
                      <a:pt x="139" y="25"/>
                      <a:pt x="147" y="28"/>
                      <a:pt x="149" y="37"/>
                    </a:cubicBezTo>
                    <a:cubicBezTo>
                      <a:pt x="152" y="36"/>
                      <a:pt x="151" y="30"/>
                      <a:pt x="151" y="26"/>
                    </a:cubicBezTo>
                    <a:cubicBezTo>
                      <a:pt x="151" y="22"/>
                      <a:pt x="151" y="18"/>
                      <a:pt x="151" y="14"/>
                    </a:cubicBezTo>
                    <a:cubicBezTo>
                      <a:pt x="156" y="14"/>
                      <a:pt x="159" y="16"/>
                      <a:pt x="160" y="20"/>
                    </a:cubicBezTo>
                    <a:cubicBezTo>
                      <a:pt x="159" y="23"/>
                      <a:pt x="154" y="20"/>
                      <a:pt x="154" y="24"/>
                    </a:cubicBezTo>
                    <a:cubicBezTo>
                      <a:pt x="158" y="33"/>
                      <a:pt x="166" y="22"/>
                      <a:pt x="162" y="16"/>
                    </a:cubicBezTo>
                    <a:cubicBezTo>
                      <a:pt x="159" y="12"/>
                      <a:pt x="155" y="13"/>
                      <a:pt x="151" y="10"/>
                    </a:cubicBezTo>
                    <a:cubicBezTo>
                      <a:pt x="151" y="9"/>
                      <a:pt x="151" y="8"/>
                      <a:pt x="151" y="7"/>
                    </a:cubicBezTo>
                    <a:cubicBezTo>
                      <a:pt x="155" y="5"/>
                      <a:pt x="165" y="9"/>
                      <a:pt x="168" y="5"/>
                    </a:cubicBezTo>
                    <a:cubicBezTo>
                      <a:pt x="166" y="2"/>
                      <a:pt x="160" y="3"/>
                      <a:pt x="156" y="3"/>
                    </a:cubicBezTo>
                    <a:cubicBezTo>
                      <a:pt x="143" y="3"/>
                      <a:pt x="119" y="1"/>
                      <a:pt x="111" y="6"/>
                    </a:cubicBezTo>
                    <a:cubicBezTo>
                      <a:pt x="103" y="3"/>
                      <a:pt x="83" y="1"/>
                      <a:pt x="71" y="3"/>
                    </a:cubicBezTo>
                    <a:cubicBezTo>
                      <a:pt x="69" y="4"/>
                      <a:pt x="67" y="4"/>
                      <a:pt x="66" y="6"/>
                    </a:cubicBezTo>
                    <a:cubicBezTo>
                      <a:pt x="54" y="0"/>
                      <a:pt x="31" y="5"/>
                      <a:pt x="14" y="3"/>
                    </a:cubicBezTo>
                    <a:cubicBezTo>
                      <a:pt x="2" y="7"/>
                      <a:pt x="0" y="35"/>
                      <a:pt x="14" y="39"/>
                    </a:cubicBezTo>
                    <a:cubicBezTo>
                      <a:pt x="19" y="36"/>
                      <a:pt x="15" y="31"/>
                      <a:pt x="11" y="32"/>
                    </a:cubicBezTo>
                    <a:cubicBezTo>
                      <a:pt x="5" y="25"/>
                      <a:pt x="7" y="9"/>
                      <a:pt x="15" y="6"/>
                    </a:cubicBezTo>
                    <a:cubicBezTo>
                      <a:pt x="31" y="7"/>
                      <a:pt x="48" y="6"/>
                      <a:pt x="62" y="7"/>
                    </a:cubicBezTo>
                    <a:cubicBezTo>
                      <a:pt x="68" y="13"/>
                      <a:pt x="62" y="32"/>
                      <a:pt x="66" y="39"/>
                    </a:cubicBezTo>
                    <a:cubicBezTo>
                      <a:pt x="70" y="39"/>
                      <a:pt x="68" y="34"/>
                      <a:pt x="68" y="32"/>
                    </a:cubicBezTo>
                    <a:cubicBezTo>
                      <a:pt x="68" y="25"/>
                      <a:pt x="67" y="13"/>
                      <a:pt x="69" y="6"/>
                    </a:cubicBezTo>
                    <a:cubicBezTo>
                      <a:pt x="78" y="6"/>
                      <a:pt x="80" y="11"/>
                      <a:pt x="83" y="16"/>
                    </a:cubicBezTo>
                    <a:cubicBezTo>
                      <a:pt x="64" y="18"/>
                      <a:pt x="85" y="40"/>
                      <a:pt x="86" y="21"/>
                    </a:cubicBezTo>
                    <a:cubicBezTo>
                      <a:pt x="93" y="23"/>
                      <a:pt x="93" y="31"/>
                      <a:pt x="95" y="37"/>
                    </a:cubicBezTo>
                    <a:cubicBezTo>
                      <a:pt x="99" y="35"/>
                      <a:pt x="97" y="28"/>
                      <a:pt x="97" y="23"/>
                    </a:cubicBezTo>
                    <a:cubicBezTo>
                      <a:pt x="97" y="18"/>
                      <a:pt x="97" y="12"/>
                      <a:pt x="97" y="7"/>
                    </a:cubicBezTo>
                    <a:cubicBezTo>
                      <a:pt x="99" y="6"/>
                      <a:pt x="105" y="6"/>
                      <a:pt x="107" y="7"/>
                    </a:cubicBezTo>
                    <a:cubicBezTo>
                      <a:pt x="113" y="13"/>
                      <a:pt x="106" y="32"/>
                      <a:pt x="111" y="39"/>
                    </a:cubicBezTo>
                    <a:cubicBezTo>
                      <a:pt x="114" y="38"/>
                      <a:pt x="113" y="29"/>
                      <a:pt x="113" y="24"/>
                    </a:cubicBezTo>
                    <a:cubicBezTo>
                      <a:pt x="113" y="19"/>
                      <a:pt x="113" y="13"/>
                      <a:pt x="113" y="8"/>
                    </a:cubicBezTo>
                    <a:cubicBezTo>
                      <a:pt x="114" y="6"/>
                      <a:pt x="119" y="7"/>
                      <a:pt x="122" y="6"/>
                    </a:cubicBezTo>
                    <a:cubicBezTo>
                      <a:pt x="116" y="11"/>
                      <a:pt x="117" y="40"/>
                      <a:pt x="127" y="40"/>
                    </a:cubicBezTo>
                    <a:cubicBezTo>
                      <a:pt x="129" y="40"/>
                      <a:pt x="131" y="39"/>
                      <a:pt x="131" y="36"/>
                    </a:cubicBezTo>
                    <a:close/>
                    <a:moveTo>
                      <a:pt x="136" y="21"/>
                    </a:moveTo>
                    <a:cubicBezTo>
                      <a:pt x="137" y="17"/>
                      <a:pt x="141" y="14"/>
                      <a:pt x="147" y="14"/>
                    </a:cubicBezTo>
                    <a:cubicBezTo>
                      <a:pt x="147" y="18"/>
                      <a:pt x="148" y="24"/>
                      <a:pt x="147" y="27"/>
                    </a:cubicBezTo>
                    <a:cubicBezTo>
                      <a:pt x="144" y="24"/>
                      <a:pt x="141" y="21"/>
                      <a:pt x="136" y="21"/>
                    </a:cubicBezTo>
                    <a:close/>
                    <a:moveTo>
                      <a:pt x="78" y="22"/>
                    </a:moveTo>
                    <a:cubicBezTo>
                      <a:pt x="79" y="20"/>
                      <a:pt x="81" y="20"/>
                      <a:pt x="83" y="20"/>
                    </a:cubicBezTo>
                    <a:cubicBezTo>
                      <a:pt x="85" y="26"/>
                      <a:pt x="77" y="28"/>
                      <a:pt x="78" y="22"/>
                    </a:cubicBezTo>
                    <a:close/>
                    <a:moveTo>
                      <a:pt x="86" y="18"/>
                    </a:moveTo>
                    <a:cubicBezTo>
                      <a:pt x="87" y="13"/>
                      <a:pt x="80" y="8"/>
                      <a:pt x="81" y="6"/>
                    </a:cubicBezTo>
                    <a:cubicBezTo>
                      <a:pt x="85" y="6"/>
                      <a:pt x="89" y="6"/>
                      <a:pt x="94" y="6"/>
                    </a:cubicBezTo>
                    <a:cubicBezTo>
                      <a:pt x="93" y="12"/>
                      <a:pt x="94" y="19"/>
                      <a:pt x="93" y="24"/>
                    </a:cubicBezTo>
                    <a:cubicBezTo>
                      <a:pt x="92" y="21"/>
                      <a:pt x="89" y="19"/>
                      <a:pt x="86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150"/>
              <p:cNvSpPr>
                <a:spLocks noEditPoints="1"/>
              </p:cNvSpPr>
              <p:nvPr/>
            </p:nvSpPr>
            <p:spPr bwMode="auto">
              <a:xfrm>
                <a:off x="2854326" y="4730750"/>
                <a:ext cx="415925" cy="114300"/>
              </a:xfrm>
              <a:custGeom>
                <a:avLst/>
                <a:gdLst/>
                <a:ahLst/>
                <a:cxnLst>
                  <a:cxn ang="0">
                    <a:pos x="65" y="40"/>
                  </a:cxn>
                  <a:cxn ang="0">
                    <a:pos x="67" y="7"/>
                  </a:cxn>
                  <a:cxn ang="0">
                    <a:pos x="96" y="7"/>
                  </a:cxn>
                  <a:cxn ang="0">
                    <a:pos x="96" y="11"/>
                  </a:cxn>
                  <a:cxn ang="0">
                    <a:pos x="76" y="24"/>
                  </a:cxn>
                  <a:cxn ang="0">
                    <a:pos x="98" y="38"/>
                  </a:cxn>
                  <a:cxn ang="0">
                    <a:pos x="100" y="24"/>
                  </a:cxn>
                  <a:cxn ang="0">
                    <a:pos x="100" y="8"/>
                  </a:cxn>
                  <a:cxn ang="0">
                    <a:pos x="109" y="8"/>
                  </a:cxn>
                  <a:cxn ang="0">
                    <a:pos x="113" y="40"/>
                  </a:cxn>
                  <a:cxn ang="0">
                    <a:pos x="115" y="25"/>
                  </a:cxn>
                  <a:cxn ang="0">
                    <a:pos x="115" y="9"/>
                  </a:cxn>
                  <a:cxn ang="0">
                    <a:pos x="121" y="7"/>
                  </a:cxn>
                  <a:cxn ang="0">
                    <a:pos x="128" y="27"/>
                  </a:cxn>
                  <a:cxn ang="0">
                    <a:pos x="137" y="18"/>
                  </a:cxn>
                  <a:cxn ang="0">
                    <a:pos x="139" y="38"/>
                  </a:cxn>
                  <a:cxn ang="0">
                    <a:pos x="141" y="27"/>
                  </a:cxn>
                  <a:cxn ang="0">
                    <a:pos x="141" y="15"/>
                  </a:cxn>
                  <a:cxn ang="0">
                    <a:pos x="126" y="22"/>
                  </a:cxn>
                  <a:cxn ang="0">
                    <a:pos x="125" y="8"/>
                  </a:cxn>
                  <a:cxn ang="0">
                    <a:pos x="147" y="6"/>
                  </a:cxn>
                  <a:cxn ang="0">
                    <a:pos x="134" y="4"/>
                  </a:cxn>
                  <a:cxn ang="0">
                    <a:pos x="113" y="7"/>
                  </a:cxn>
                  <a:cxn ang="0">
                    <a:pos x="64" y="4"/>
                  </a:cxn>
                  <a:cxn ang="0">
                    <a:pos x="21" y="4"/>
                  </a:cxn>
                  <a:cxn ang="0">
                    <a:pos x="21" y="14"/>
                  </a:cxn>
                  <a:cxn ang="0">
                    <a:pos x="7" y="7"/>
                  </a:cxn>
                  <a:cxn ang="0">
                    <a:pos x="12" y="11"/>
                  </a:cxn>
                  <a:cxn ang="0">
                    <a:pos x="14" y="9"/>
                  </a:cxn>
                  <a:cxn ang="0">
                    <a:pos x="2" y="9"/>
                  </a:cxn>
                  <a:cxn ang="0">
                    <a:pos x="6" y="16"/>
                  </a:cxn>
                  <a:cxn ang="0">
                    <a:pos x="1" y="26"/>
                  </a:cxn>
                  <a:cxn ang="0">
                    <a:pos x="22" y="38"/>
                  </a:cxn>
                  <a:cxn ang="0">
                    <a:pos x="24" y="24"/>
                  </a:cxn>
                  <a:cxn ang="0">
                    <a:pos x="24" y="8"/>
                  </a:cxn>
                  <a:cxn ang="0">
                    <a:pos x="52" y="7"/>
                  </a:cxn>
                  <a:cxn ang="0">
                    <a:pos x="52" y="21"/>
                  </a:cxn>
                  <a:cxn ang="0">
                    <a:pos x="31" y="22"/>
                  </a:cxn>
                  <a:cxn ang="0">
                    <a:pos x="43" y="20"/>
                  </a:cxn>
                  <a:cxn ang="0">
                    <a:pos x="41" y="20"/>
                  </a:cxn>
                  <a:cxn ang="0">
                    <a:pos x="39" y="25"/>
                  </a:cxn>
                  <a:cxn ang="0">
                    <a:pos x="38" y="17"/>
                  </a:cxn>
                  <a:cxn ang="0">
                    <a:pos x="53" y="38"/>
                  </a:cxn>
                  <a:cxn ang="0">
                    <a:pos x="55" y="24"/>
                  </a:cxn>
                  <a:cxn ang="0">
                    <a:pos x="55" y="8"/>
                  </a:cxn>
                  <a:cxn ang="0">
                    <a:pos x="64" y="7"/>
                  </a:cxn>
                  <a:cxn ang="0">
                    <a:pos x="68" y="32"/>
                  </a:cxn>
                  <a:cxn ang="0">
                    <a:pos x="65" y="40"/>
                  </a:cxn>
                  <a:cxn ang="0">
                    <a:pos x="5" y="23"/>
                  </a:cxn>
                  <a:cxn ang="0">
                    <a:pos x="21" y="17"/>
                  </a:cxn>
                  <a:cxn ang="0">
                    <a:pos x="20" y="29"/>
                  </a:cxn>
                  <a:cxn ang="0">
                    <a:pos x="5" y="23"/>
                  </a:cxn>
                  <a:cxn ang="0">
                    <a:pos x="80" y="21"/>
                  </a:cxn>
                  <a:cxn ang="0">
                    <a:pos x="96" y="15"/>
                  </a:cxn>
                  <a:cxn ang="0">
                    <a:pos x="96" y="29"/>
                  </a:cxn>
                  <a:cxn ang="0">
                    <a:pos x="80" y="21"/>
                  </a:cxn>
                </a:cxnLst>
                <a:rect l="0" t="0" r="r" b="b"/>
                <a:pathLst>
                  <a:path w="147" h="40">
                    <a:moveTo>
                      <a:pt x="65" y="40"/>
                    </a:moveTo>
                    <a:cubicBezTo>
                      <a:pt x="80" y="34"/>
                      <a:pt x="62" y="19"/>
                      <a:pt x="67" y="7"/>
                    </a:cubicBezTo>
                    <a:cubicBezTo>
                      <a:pt x="77" y="7"/>
                      <a:pt x="87" y="7"/>
                      <a:pt x="96" y="7"/>
                    </a:cubicBezTo>
                    <a:cubicBezTo>
                      <a:pt x="96" y="9"/>
                      <a:pt x="96" y="10"/>
                      <a:pt x="96" y="11"/>
                    </a:cubicBezTo>
                    <a:cubicBezTo>
                      <a:pt x="87" y="13"/>
                      <a:pt x="78" y="15"/>
                      <a:pt x="76" y="24"/>
                    </a:cubicBezTo>
                    <a:cubicBezTo>
                      <a:pt x="85" y="27"/>
                      <a:pt x="95" y="28"/>
                      <a:pt x="98" y="38"/>
                    </a:cubicBezTo>
                    <a:cubicBezTo>
                      <a:pt x="101" y="36"/>
                      <a:pt x="100" y="29"/>
                      <a:pt x="100" y="24"/>
                    </a:cubicBezTo>
                    <a:cubicBezTo>
                      <a:pt x="100" y="19"/>
                      <a:pt x="100" y="13"/>
                      <a:pt x="100" y="8"/>
                    </a:cubicBezTo>
                    <a:cubicBezTo>
                      <a:pt x="101" y="7"/>
                      <a:pt x="107" y="7"/>
                      <a:pt x="109" y="8"/>
                    </a:cubicBezTo>
                    <a:cubicBezTo>
                      <a:pt x="116" y="14"/>
                      <a:pt x="109" y="33"/>
                      <a:pt x="113" y="40"/>
                    </a:cubicBezTo>
                    <a:cubicBezTo>
                      <a:pt x="117" y="39"/>
                      <a:pt x="115" y="30"/>
                      <a:pt x="115" y="25"/>
                    </a:cubicBezTo>
                    <a:cubicBezTo>
                      <a:pt x="115" y="20"/>
                      <a:pt x="115" y="14"/>
                      <a:pt x="115" y="9"/>
                    </a:cubicBezTo>
                    <a:cubicBezTo>
                      <a:pt x="116" y="7"/>
                      <a:pt x="119" y="7"/>
                      <a:pt x="121" y="7"/>
                    </a:cubicBezTo>
                    <a:cubicBezTo>
                      <a:pt x="123" y="15"/>
                      <a:pt x="121" y="25"/>
                      <a:pt x="128" y="27"/>
                    </a:cubicBezTo>
                    <a:cubicBezTo>
                      <a:pt x="130" y="22"/>
                      <a:pt x="132" y="19"/>
                      <a:pt x="137" y="18"/>
                    </a:cubicBezTo>
                    <a:cubicBezTo>
                      <a:pt x="140" y="23"/>
                      <a:pt x="136" y="34"/>
                      <a:pt x="139" y="38"/>
                    </a:cubicBezTo>
                    <a:cubicBezTo>
                      <a:pt x="143" y="37"/>
                      <a:pt x="141" y="31"/>
                      <a:pt x="141" y="27"/>
                    </a:cubicBezTo>
                    <a:cubicBezTo>
                      <a:pt x="141" y="23"/>
                      <a:pt x="141" y="18"/>
                      <a:pt x="141" y="15"/>
                    </a:cubicBezTo>
                    <a:cubicBezTo>
                      <a:pt x="134" y="15"/>
                      <a:pt x="130" y="18"/>
                      <a:pt x="126" y="22"/>
                    </a:cubicBezTo>
                    <a:cubicBezTo>
                      <a:pt x="124" y="19"/>
                      <a:pt x="125" y="13"/>
                      <a:pt x="125" y="8"/>
                    </a:cubicBezTo>
                    <a:cubicBezTo>
                      <a:pt x="131" y="6"/>
                      <a:pt x="143" y="10"/>
                      <a:pt x="147" y="6"/>
                    </a:cubicBezTo>
                    <a:cubicBezTo>
                      <a:pt x="146" y="3"/>
                      <a:pt x="139" y="4"/>
                      <a:pt x="134" y="4"/>
                    </a:cubicBezTo>
                    <a:cubicBezTo>
                      <a:pt x="126" y="4"/>
                      <a:pt x="116" y="3"/>
                      <a:pt x="113" y="7"/>
                    </a:cubicBezTo>
                    <a:cubicBezTo>
                      <a:pt x="103" y="2"/>
                      <a:pt x="82" y="4"/>
                      <a:pt x="64" y="4"/>
                    </a:cubicBezTo>
                    <a:cubicBezTo>
                      <a:pt x="49" y="4"/>
                      <a:pt x="34" y="4"/>
                      <a:pt x="21" y="4"/>
                    </a:cubicBezTo>
                    <a:cubicBezTo>
                      <a:pt x="21" y="7"/>
                      <a:pt x="21" y="11"/>
                      <a:pt x="21" y="14"/>
                    </a:cubicBezTo>
                    <a:cubicBezTo>
                      <a:pt x="14" y="13"/>
                      <a:pt x="2" y="16"/>
                      <a:pt x="7" y="7"/>
                    </a:cubicBezTo>
                    <a:cubicBezTo>
                      <a:pt x="9" y="8"/>
                      <a:pt x="8" y="12"/>
                      <a:pt x="12" y="11"/>
                    </a:cubicBezTo>
                    <a:cubicBezTo>
                      <a:pt x="12" y="10"/>
                      <a:pt x="13" y="9"/>
                      <a:pt x="14" y="9"/>
                    </a:cubicBezTo>
                    <a:cubicBezTo>
                      <a:pt x="11" y="0"/>
                      <a:pt x="2" y="4"/>
                      <a:pt x="2" y="9"/>
                    </a:cubicBezTo>
                    <a:cubicBezTo>
                      <a:pt x="2" y="12"/>
                      <a:pt x="6" y="14"/>
                      <a:pt x="6" y="16"/>
                    </a:cubicBezTo>
                    <a:cubicBezTo>
                      <a:pt x="6" y="19"/>
                      <a:pt x="0" y="23"/>
                      <a:pt x="1" y="26"/>
                    </a:cubicBezTo>
                    <a:cubicBezTo>
                      <a:pt x="13" y="25"/>
                      <a:pt x="19" y="30"/>
                      <a:pt x="22" y="38"/>
                    </a:cubicBezTo>
                    <a:cubicBezTo>
                      <a:pt x="26" y="36"/>
                      <a:pt x="24" y="29"/>
                      <a:pt x="24" y="24"/>
                    </a:cubicBezTo>
                    <a:cubicBezTo>
                      <a:pt x="24" y="19"/>
                      <a:pt x="24" y="13"/>
                      <a:pt x="24" y="8"/>
                    </a:cubicBezTo>
                    <a:cubicBezTo>
                      <a:pt x="32" y="7"/>
                      <a:pt x="43" y="8"/>
                      <a:pt x="52" y="7"/>
                    </a:cubicBezTo>
                    <a:cubicBezTo>
                      <a:pt x="52" y="12"/>
                      <a:pt x="52" y="17"/>
                      <a:pt x="52" y="21"/>
                    </a:cubicBezTo>
                    <a:cubicBezTo>
                      <a:pt x="49" y="11"/>
                      <a:pt x="31" y="12"/>
                      <a:pt x="31" y="22"/>
                    </a:cubicBezTo>
                    <a:cubicBezTo>
                      <a:pt x="32" y="31"/>
                      <a:pt x="47" y="30"/>
                      <a:pt x="43" y="20"/>
                    </a:cubicBezTo>
                    <a:cubicBezTo>
                      <a:pt x="42" y="20"/>
                      <a:pt x="41" y="20"/>
                      <a:pt x="41" y="20"/>
                    </a:cubicBezTo>
                    <a:cubicBezTo>
                      <a:pt x="37" y="20"/>
                      <a:pt x="39" y="25"/>
                      <a:pt x="39" y="25"/>
                    </a:cubicBezTo>
                    <a:cubicBezTo>
                      <a:pt x="32" y="25"/>
                      <a:pt x="35" y="18"/>
                      <a:pt x="38" y="17"/>
                    </a:cubicBezTo>
                    <a:cubicBezTo>
                      <a:pt x="48" y="13"/>
                      <a:pt x="52" y="29"/>
                      <a:pt x="53" y="38"/>
                    </a:cubicBezTo>
                    <a:cubicBezTo>
                      <a:pt x="57" y="36"/>
                      <a:pt x="55" y="29"/>
                      <a:pt x="55" y="24"/>
                    </a:cubicBezTo>
                    <a:cubicBezTo>
                      <a:pt x="55" y="19"/>
                      <a:pt x="55" y="13"/>
                      <a:pt x="55" y="8"/>
                    </a:cubicBezTo>
                    <a:cubicBezTo>
                      <a:pt x="57" y="7"/>
                      <a:pt x="61" y="8"/>
                      <a:pt x="64" y="7"/>
                    </a:cubicBezTo>
                    <a:cubicBezTo>
                      <a:pt x="59" y="15"/>
                      <a:pt x="69" y="24"/>
                      <a:pt x="68" y="32"/>
                    </a:cubicBezTo>
                    <a:cubicBezTo>
                      <a:pt x="68" y="36"/>
                      <a:pt x="64" y="36"/>
                      <a:pt x="65" y="40"/>
                    </a:cubicBezTo>
                    <a:close/>
                    <a:moveTo>
                      <a:pt x="5" y="23"/>
                    </a:moveTo>
                    <a:cubicBezTo>
                      <a:pt x="6" y="17"/>
                      <a:pt x="14" y="15"/>
                      <a:pt x="21" y="17"/>
                    </a:cubicBezTo>
                    <a:cubicBezTo>
                      <a:pt x="21" y="21"/>
                      <a:pt x="22" y="27"/>
                      <a:pt x="20" y="29"/>
                    </a:cubicBezTo>
                    <a:cubicBezTo>
                      <a:pt x="17" y="25"/>
                      <a:pt x="12" y="23"/>
                      <a:pt x="5" y="23"/>
                    </a:cubicBezTo>
                    <a:close/>
                    <a:moveTo>
                      <a:pt x="80" y="21"/>
                    </a:moveTo>
                    <a:cubicBezTo>
                      <a:pt x="83" y="17"/>
                      <a:pt x="88" y="15"/>
                      <a:pt x="96" y="15"/>
                    </a:cubicBezTo>
                    <a:cubicBezTo>
                      <a:pt x="96" y="20"/>
                      <a:pt x="97" y="25"/>
                      <a:pt x="96" y="29"/>
                    </a:cubicBezTo>
                    <a:cubicBezTo>
                      <a:pt x="92" y="24"/>
                      <a:pt x="85" y="24"/>
                      <a:pt x="80" y="2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151"/>
              <p:cNvSpPr>
                <a:spLocks/>
              </p:cNvSpPr>
              <p:nvPr/>
            </p:nvSpPr>
            <p:spPr bwMode="auto">
              <a:xfrm>
                <a:off x="2403476" y="4740275"/>
                <a:ext cx="104775" cy="130175"/>
              </a:xfrm>
              <a:custGeom>
                <a:avLst/>
                <a:gdLst/>
                <a:ahLst/>
                <a:cxnLst>
                  <a:cxn ang="0">
                    <a:pos x="23" y="15"/>
                  </a:cxn>
                  <a:cxn ang="0">
                    <a:pos x="20" y="20"/>
                  </a:cxn>
                  <a:cxn ang="0">
                    <a:pos x="18" y="14"/>
                  </a:cxn>
                  <a:cxn ang="0">
                    <a:pos x="16" y="31"/>
                  </a:cxn>
                  <a:cxn ang="0">
                    <a:pos x="7" y="15"/>
                  </a:cxn>
                  <a:cxn ang="0">
                    <a:pos x="3" y="11"/>
                  </a:cxn>
                  <a:cxn ang="0">
                    <a:pos x="29" y="32"/>
                  </a:cxn>
                  <a:cxn ang="0">
                    <a:pos x="16" y="11"/>
                  </a:cxn>
                  <a:cxn ang="0">
                    <a:pos x="14" y="15"/>
                  </a:cxn>
                  <a:cxn ang="0">
                    <a:pos x="23" y="15"/>
                  </a:cxn>
                </a:cxnLst>
                <a:rect l="0" t="0" r="r" b="b"/>
                <a:pathLst>
                  <a:path w="37" h="46">
                    <a:moveTo>
                      <a:pt x="23" y="15"/>
                    </a:moveTo>
                    <a:cubicBezTo>
                      <a:pt x="20" y="15"/>
                      <a:pt x="19" y="16"/>
                      <a:pt x="20" y="20"/>
                    </a:cubicBezTo>
                    <a:cubicBezTo>
                      <a:pt x="17" y="20"/>
                      <a:pt x="16" y="15"/>
                      <a:pt x="18" y="14"/>
                    </a:cubicBezTo>
                    <a:cubicBezTo>
                      <a:pt x="34" y="8"/>
                      <a:pt x="33" y="37"/>
                      <a:pt x="16" y="31"/>
                    </a:cubicBezTo>
                    <a:cubicBezTo>
                      <a:pt x="10" y="29"/>
                      <a:pt x="9" y="22"/>
                      <a:pt x="7" y="15"/>
                    </a:cubicBezTo>
                    <a:cubicBezTo>
                      <a:pt x="6" y="14"/>
                      <a:pt x="6" y="10"/>
                      <a:pt x="3" y="11"/>
                    </a:cubicBezTo>
                    <a:cubicBezTo>
                      <a:pt x="0" y="21"/>
                      <a:pt x="16" y="46"/>
                      <a:pt x="29" y="32"/>
                    </a:cubicBezTo>
                    <a:cubicBezTo>
                      <a:pt x="37" y="24"/>
                      <a:pt x="27" y="0"/>
                      <a:pt x="16" y="11"/>
                    </a:cubicBezTo>
                    <a:cubicBezTo>
                      <a:pt x="15" y="12"/>
                      <a:pt x="14" y="14"/>
                      <a:pt x="14" y="15"/>
                    </a:cubicBezTo>
                    <a:cubicBezTo>
                      <a:pt x="12" y="26"/>
                      <a:pt x="32" y="22"/>
                      <a:pt x="23" y="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152"/>
              <p:cNvSpPr>
                <a:spLocks/>
              </p:cNvSpPr>
              <p:nvPr/>
            </p:nvSpPr>
            <p:spPr bwMode="auto">
              <a:xfrm>
                <a:off x="2868613" y="4773613"/>
                <a:ext cx="47625" cy="39688"/>
              </a:xfrm>
              <a:custGeom>
                <a:avLst/>
                <a:gdLst/>
                <a:ahLst/>
                <a:cxnLst>
                  <a:cxn ang="0">
                    <a:pos x="15" y="14"/>
                  </a:cxn>
                  <a:cxn ang="0">
                    <a:pos x="16" y="2"/>
                  </a:cxn>
                  <a:cxn ang="0">
                    <a:pos x="0" y="8"/>
                  </a:cxn>
                  <a:cxn ang="0">
                    <a:pos x="15" y="14"/>
                  </a:cxn>
                </a:cxnLst>
                <a:rect l="0" t="0" r="r" b="b"/>
                <a:pathLst>
                  <a:path w="17" h="14">
                    <a:moveTo>
                      <a:pt x="15" y="14"/>
                    </a:moveTo>
                    <a:cubicBezTo>
                      <a:pt x="17" y="12"/>
                      <a:pt x="16" y="6"/>
                      <a:pt x="16" y="2"/>
                    </a:cubicBezTo>
                    <a:cubicBezTo>
                      <a:pt x="9" y="0"/>
                      <a:pt x="1" y="2"/>
                      <a:pt x="0" y="8"/>
                    </a:cubicBezTo>
                    <a:cubicBezTo>
                      <a:pt x="7" y="8"/>
                      <a:pt x="12" y="10"/>
                      <a:pt x="15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153"/>
              <p:cNvSpPr>
                <a:spLocks/>
              </p:cNvSpPr>
              <p:nvPr/>
            </p:nvSpPr>
            <p:spPr bwMode="auto">
              <a:xfrm>
                <a:off x="3081338" y="4773613"/>
                <a:ext cx="47625" cy="39688"/>
              </a:xfrm>
              <a:custGeom>
                <a:avLst/>
                <a:gdLst/>
                <a:ahLst/>
                <a:cxnLst>
                  <a:cxn ang="0">
                    <a:pos x="16" y="14"/>
                  </a:cxn>
                  <a:cxn ang="0">
                    <a:pos x="16" y="0"/>
                  </a:cxn>
                  <a:cxn ang="0">
                    <a:pos x="0" y="6"/>
                  </a:cxn>
                  <a:cxn ang="0">
                    <a:pos x="16" y="14"/>
                  </a:cxn>
                </a:cxnLst>
                <a:rect l="0" t="0" r="r" b="b"/>
                <a:pathLst>
                  <a:path w="17" h="14">
                    <a:moveTo>
                      <a:pt x="16" y="14"/>
                    </a:moveTo>
                    <a:cubicBezTo>
                      <a:pt x="17" y="10"/>
                      <a:pt x="16" y="5"/>
                      <a:pt x="16" y="0"/>
                    </a:cubicBezTo>
                    <a:cubicBezTo>
                      <a:pt x="8" y="0"/>
                      <a:pt x="3" y="2"/>
                      <a:pt x="0" y="6"/>
                    </a:cubicBezTo>
                    <a:cubicBezTo>
                      <a:pt x="5" y="9"/>
                      <a:pt x="12" y="9"/>
                      <a:pt x="16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154"/>
              <p:cNvSpPr>
                <a:spLocks/>
              </p:cNvSpPr>
              <p:nvPr/>
            </p:nvSpPr>
            <p:spPr bwMode="auto">
              <a:xfrm>
                <a:off x="2728913" y="4773613"/>
                <a:ext cx="34925" cy="36513"/>
              </a:xfrm>
              <a:custGeom>
                <a:avLst/>
                <a:gdLst/>
                <a:ahLst/>
                <a:cxnLst>
                  <a:cxn ang="0">
                    <a:pos x="11" y="13"/>
                  </a:cxn>
                  <a:cxn ang="0">
                    <a:pos x="11" y="0"/>
                  </a:cxn>
                  <a:cxn ang="0">
                    <a:pos x="0" y="7"/>
                  </a:cxn>
                  <a:cxn ang="0">
                    <a:pos x="11" y="13"/>
                  </a:cxn>
                </a:cxnLst>
                <a:rect l="0" t="0" r="r" b="b"/>
                <a:pathLst>
                  <a:path w="12" h="13">
                    <a:moveTo>
                      <a:pt x="11" y="13"/>
                    </a:moveTo>
                    <a:cubicBezTo>
                      <a:pt x="12" y="10"/>
                      <a:pt x="11" y="4"/>
                      <a:pt x="11" y="0"/>
                    </a:cubicBezTo>
                    <a:cubicBezTo>
                      <a:pt x="5" y="0"/>
                      <a:pt x="1" y="3"/>
                      <a:pt x="0" y="7"/>
                    </a:cubicBezTo>
                    <a:cubicBezTo>
                      <a:pt x="5" y="7"/>
                      <a:pt x="8" y="10"/>
                      <a:pt x="11" y="1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155"/>
              <p:cNvSpPr>
                <a:spLocks/>
              </p:cNvSpPr>
              <p:nvPr/>
            </p:nvSpPr>
            <p:spPr bwMode="auto">
              <a:xfrm>
                <a:off x="2562226" y="47910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" y="2"/>
                  </a:cxn>
                  <a:cxn ang="0">
                    <a:pos x="6" y="0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cubicBezTo>
                      <a:pt x="4" y="0"/>
                      <a:pt x="2" y="0"/>
                      <a:pt x="1" y="2"/>
                    </a:cubicBezTo>
                    <a:cubicBezTo>
                      <a:pt x="0" y="8"/>
                      <a:pt x="8" y="6"/>
                      <a:pt x="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156"/>
              <p:cNvSpPr>
                <a:spLocks/>
              </p:cNvSpPr>
              <p:nvPr/>
            </p:nvSpPr>
            <p:spPr bwMode="auto">
              <a:xfrm>
                <a:off x="2570163" y="4751388"/>
                <a:ext cx="42863" cy="50800"/>
              </a:xfrm>
              <a:custGeom>
                <a:avLst/>
                <a:gdLst/>
                <a:ahLst/>
                <a:cxnLst>
                  <a:cxn ang="0">
                    <a:pos x="13" y="18"/>
                  </a:cxn>
                  <a:cxn ang="0">
                    <a:pos x="14" y="0"/>
                  </a:cxn>
                  <a:cxn ang="0">
                    <a:pos x="1" y="0"/>
                  </a:cxn>
                  <a:cxn ang="0">
                    <a:pos x="6" y="12"/>
                  </a:cxn>
                  <a:cxn ang="0">
                    <a:pos x="13" y="18"/>
                  </a:cxn>
                </a:cxnLst>
                <a:rect l="0" t="0" r="r" b="b"/>
                <a:pathLst>
                  <a:path w="15" h="18">
                    <a:moveTo>
                      <a:pt x="13" y="18"/>
                    </a:moveTo>
                    <a:cubicBezTo>
                      <a:pt x="15" y="13"/>
                      <a:pt x="13" y="6"/>
                      <a:pt x="14" y="0"/>
                    </a:cubicBezTo>
                    <a:cubicBezTo>
                      <a:pt x="9" y="0"/>
                      <a:pt x="5" y="0"/>
                      <a:pt x="1" y="0"/>
                    </a:cubicBezTo>
                    <a:cubicBezTo>
                      <a:pt x="0" y="2"/>
                      <a:pt x="7" y="7"/>
                      <a:pt x="6" y="12"/>
                    </a:cubicBezTo>
                    <a:cubicBezTo>
                      <a:pt x="9" y="13"/>
                      <a:pt x="12" y="15"/>
                      <a:pt x="13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70" name="Picture 2" descr="\\comonpdc2\Transfer\xShredder(wird jeden Abend geleert)\vigniette.png">
            <a:extLst>
              <a:ext uri="{FF2B5EF4-FFF2-40B4-BE49-F238E27FC236}">
                <a16:creationId xmlns:a16="http://schemas.microsoft.com/office/drawing/2014/main" id="{8CDCC9A8-EB1B-4DE2-9106-C3FF137F9F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195264"/>
            <a:ext cx="8785224" cy="47529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3954515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 fontScale="92500" lnSpcReduction="10000"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strike="sngStrike" dirty="0">
                <a:solidFill>
                  <a:schemeClr val="bg1">
                    <a:lumMod val="65000"/>
                  </a:schemeClr>
                </a:solidFill>
              </a:rPr>
              <a:t>Recap of part One Jenkins workshop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strike="sngStrike" dirty="0">
                <a:solidFill>
                  <a:schemeClr val="bg1">
                    <a:lumMod val="65000"/>
                  </a:schemeClr>
                </a:solidFill>
              </a:rPr>
              <a:t>Pipeline (Basic) example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strike="sngStrike" dirty="0">
                <a:solidFill>
                  <a:schemeClr val="bg1">
                    <a:lumMod val="65000"/>
                  </a:schemeClr>
                </a:solidFill>
              </a:rPr>
              <a:t>Pipeline involving Git integration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Pipeline groove syntax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Pipeline environments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Pipeline parametrization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Successive Jobs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Pipeline build than test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Remote Jenkins file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Master -&gt; Client/Slave Jenkins instances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Docker</a:t>
            </a:r>
          </a:p>
          <a:p>
            <a:pPr marL="271463" lvl="2" indent="0">
              <a:buNone/>
            </a:pPr>
            <a:endParaRPr lang="en-US" sz="1400" dirty="0"/>
          </a:p>
          <a:p>
            <a:pPr lvl="2">
              <a:buFont typeface="Wingdings" pitchFamily="2" charset="2"/>
              <a:buChar char="Ø"/>
            </a:pP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 anchor="ctr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/>
              <a:t>Jenkins - extended Job features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425872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>
                <a:solidFill>
                  <a:srgbClr val="000000"/>
                </a:solidFill>
                <a:latin typeface="Helv"/>
              </a:rPr>
              <a:t>Local Jenkins setup 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>
                <a:solidFill>
                  <a:srgbClr val="000000"/>
                </a:solidFill>
                <a:latin typeface="Helv"/>
              </a:rPr>
              <a:t>Main Jenkins configuration:</a:t>
            </a:r>
          </a:p>
          <a:p>
            <a:pPr lvl="3">
              <a:buFont typeface="Wingdings" pitchFamily="2" charset="2"/>
              <a:buChar char="Ø"/>
            </a:pPr>
            <a:r>
              <a:rPr lang="en-US" i="1" dirty="0">
                <a:solidFill>
                  <a:srgbClr val="000000"/>
                </a:solidFill>
                <a:latin typeface="Helv"/>
              </a:rPr>
              <a:t>Global variables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>
                <a:solidFill>
                  <a:srgbClr val="000000"/>
                </a:solidFill>
                <a:latin typeface="Helv"/>
              </a:rPr>
              <a:t>Most used configurations that we should focus on:</a:t>
            </a:r>
          </a:p>
          <a:p>
            <a:pPr lvl="3">
              <a:buFont typeface="Wingdings" pitchFamily="2" charset="2"/>
              <a:buChar char="Ø"/>
            </a:pPr>
            <a:r>
              <a:rPr lang="en-US" i="1" dirty="0">
                <a:solidFill>
                  <a:srgbClr val="000000"/>
                </a:solidFill>
                <a:latin typeface="Helv"/>
              </a:rPr>
              <a:t>Global variables</a:t>
            </a:r>
          </a:p>
          <a:p>
            <a:pPr lvl="3">
              <a:buFont typeface="Wingdings" pitchFamily="2" charset="2"/>
              <a:buChar char="Ø"/>
            </a:pPr>
            <a:r>
              <a:rPr lang="en-US" i="1" dirty="0">
                <a:solidFill>
                  <a:srgbClr val="000000"/>
                </a:solidFill>
                <a:latin typeface="Helv"/>
              </a:rPr>
              <a:t>Users</a:t>
            </a:r>
          </a:p>
          <a:p>
            <a:pPr lvl="3">
              <a:buFont typeface="Wingdings" pitchFamily="2" charset="2"/>
              <a:buChar char="Ø"/>
            </a:pPr>
            <a:r>
              <a:rPr lang="en-US" i="1" dirty="0">
                <a:solidFill>
                  <a:srgbClr val="000000"/>
                </a:solidFill>
                <a:latin typeface="Helv"/>
              </a:rPr>
              <a:t>Credentials </a:t>
            </a:r>
          </a:p>
          <a:p>
            <a:pPr lvl="3">
              <a:buFont typeface="Wingdings" pitchFamily="2" charset="2"/>
              <a:buChar char="Ø"/>
            </a:pPr>
            <a:r>
              <a:rPr lang="en-US" i="1" dirty="0">
                <a:solidFill>
                  <a:srgbClr val="000000"/>
                </a:solidFill>
                <a:latin typeface="Helv"/>
              </a:rPr>
              <a:t>Plugins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>
                <a:solidFill>
                  <a:srgbClr val="000000"/>
                </a:solidFill>
                <a:latin typeface="Helv"/>
              </a:rPr>
              <a:t>Simple (Basic) freestyle Job that we can create / u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 anchor="ctr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Recap of part One of Jenkins workshop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3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091060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4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2ED432-324B-42B2-9BC8-6BB0626AE50E}"/>
              </a:ext>
            </a:extLst>
          </p:cNvPr>
          <p:cNvSpPr txBox="1"/>
          <p:nvPr/>
        </p:nvSpPr>
        <p:spPr>
          <a:xfrm>
            <a:off x="1547664" y="2067694"/>
            <a:ext cx="60486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Jenkins Freestyle jobs</a:t>
            </a:r>
          </a:p>
        </p:txBody>
      </p:sp>
    </p:spTree>
    <p:extLst>
      <p:ext uri="{BB962C8B-B14F-4D97-AF65-F5344CB8AC3E}">
        <p14:creationId xmlns:p14="http://schemas.microsoft.com/office/powerpoint/2010/main" val="95628423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Using simple GUI parameters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Setting up Workspace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Setting up Build schedule 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Build configuration:</a:t>
            </a:r>
          </a:p>
          <a:p>
            <a:pPr lvl="3">
              <a:buFont typeface="Wingdings" pitchFamily="2" charset="2"/>
              <a:buChar char="Ø"/>
            </a:pPr>
            <a:r>
              <a:rPr lang="en-US" i="1" dirty="0"/>
              <a:t>Execute Shell command</a:t>
            </a:r>
          </a:p>
          <a:p>
            <a:pPr lvl="3">
              <a:buFont typeface="Wingdings" pitchFamily="2" charset="2"/>
              <a:buChar char="Ø"/>
            </a:pPr>
            <a:r>
              <a:rPr lang="en-US" i="1" dirty="0"/>
              <a:t>Execute Batch command</a:t>
            </a:r>
          </a:p>
          <a:p>
            <a:pPr lvl="3">
              <a:buFont typeface="Wingdings" pitchFamily="2" charset="2"/>
              <a:buChar char="Ø"/>
            </a:pPr>
            <a:r>
              <a:rPr lang="en-US" i="1" dirty="0"/>
              <a:t>Delete workspace before build starts</a:t>
            </a:r>
          </a:p>
          <a:p>
            <a:pPr lvl="3">
              <a:buFont typeface="Wingdings" pitchFamily="2" charset="2"/>
              <a:buChar char="Ø"/>
            </a:pPr>
            <a:r>
              <a:rPr lang="en-US" i="1" dirty="0"/>
              <a:t>Abort the build if it's stuck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Post Build configuration:</a:t>
            </a:r>
          </a:p>
          <a:p>
            <a:pPr lvl="3">
              <a:buFont typeface="Wingdings" pitchFamily="2" charset="2"/>
              <a:buChar char="Ø"/>
            </a:pPr>
            <a:r>
              <a:rPr lang="en-US" i="1" dirty="0"/>
              <a:t>Publish report</a:t>
            </a:r>
          </a:p>
          <a:p>
            <a:pPr lvl="3">
              <a:buFont typeface="Wingdings" pitchFamily="2" charset="2"/>
              <a:buChar char="Ø"/>
            </a:pPr>
            <a:r>
              <a:rPr lang="en-US" i="1" dirty="0"/>
              <a:t>Build other projec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 anchor="ctr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Freestyle Job - Simple (Basic) scenario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5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481862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Custom configuration related to </a:t>
            </a:r>
          </a:p>
          <a:p>
            <a:pPr lvl="3">
              <a:buFont typeface="Wingdings" pitchFamily="2" charset="2"/>
              <a:buChar char="Ø"/>
            </a:pPr>
            <a:r>
              <a:rPr lang="en-US" sz="1400" dirty="0"/>
              <a:t>Set credentials in </a:t>
            </a:r>
            <a:r>
              <a:rPr lang="en-US" sz="1400" b="1" i="1" u="sng" dirty="0"/>
              <a:t>“Credentials Manager”</a:t>
            </a:r>
            <a:r>
              <a:rPr lang="en-US" sz="1400" dirty="0"/>
              <a:t>  - (Manage Credentials)</a:t>
            </a:r>
          </a:p>
          <a:p>
            <a:pPr lvl="3">
              <a:buFont typeface="Wingdings" pitchFamily="2" charset="2"/>
              <a:buChar char="Ø"/>
            </a:pPr>
            <a:r>
              <a:rPr lang="en-US" sz="1400" dirty="0"/>
              <a:t>Job configure GIT parameters</a:t>
            </a:r>
          </a:p>
          <a:p>
            <a:pPr lvl="3">
              <a:buFont typeface="Wingdings" pitchFamily="2" charset="2"/>
              <a:buChar char="Ø"/>
            </a:pPr>
            <a:r>
              <a:rPr lang="en-US" sz="1400" dirty="0"/>
              <a:t>Delete workspace</a:t>
            </a:r>
          </a:p>
          <a:p>
            <a:pPr lvl="3">
              <a:buFont typeface="Wingdings" pitchFamily="2" charset="2"/>
              <a:buChar char="Ø"/>
            </a:pPr>
            <a:r>
              <a:rPr lang="en-US" sz="1400" dirty="0"/>
              <a:t>Build with Windows batch command</a:t>
            </a:r>
          </a:p>
          <a:p>
            <a:pPr marL="536972" lvl="3" indent="0">
              <a:buNone/>
            </a:pPr>
            <a:endParaRPr lang="en-US" sz="1400" b="1" i="1" u="sn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 anchor="ctr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Freestyle Job – GIT integration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6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285699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7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2ED432-324B-42B2-9BC8-6BB0626AE50E}"/>
              </a:ext>
            </a:extLst>
          </p:cNvPr>
          <p:cNvSpPr txBox="1"/>
          <p:nvPr/>
        </p:nvSpPr>
        <p:spPr>
          <a:xfrm>
            <a:off x="1547664" y="2067694"/>
            <a:ext cx="60486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Jenkins Pipeline jobs</a:t>
            </a:r>
          </a:p>
        </p:txBody>
      </p:sp>
    </p:spTree>
    <p:extLst>
      <p:ext uri="{BB962C8B-B14F-4D97-AF65-F5344CB8AC3E}">
        <p14:creationId xmlns:p14="http://schemas.microsoft.com/office/powerpoint/2010/main" val="364076081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Scripted vs Declarative syntax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Apache Groovy is a Java-syntax-compatible OOP language for the Java platform. 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 It can be used as both a programming language and a scripting language for the Java Platform.</a:t>
            </a:r>
          </a:p>
          <a:p>
            <a:pPr lvl="2">
              <a:buFont typeface="Wingdings" pitchFamily="2" charset="2"/>
              <a:buChar char="Ø"/>
            </a:pP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 anchor="ctr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Apache groovy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8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>
                <a:solidFill>
                  <a:srgbClr val="000000"/>
                </a:solidFill>
                <a:latin typeface="Arial"/>
              </a:rPr>
              <a:t>Florentina Catan, © Continental AG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1689618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555526"/>
            <a:ext cx="8425186" cy="4032448"/>
          </a:xfrm>
        </p:spPr>
        <p:txBody>
          <a:bodyPr>
            <a:normAutofit/>
          </a:bodyPr>
          <a:lstStyle/>
          <a:p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This feature gives us an option to use variables within our groovy pipelines.</a:t>
            </a:r>
          </a:p>
          <a:p>
            <a:pPr lvl="2">
              <a:buFont typeface="Wingdings" pitchFamily="2" charset="2"/>
              <a:buChar char="Ø"/>
            </a:pPr>
            <a:r>
              <a:rPr lang="en-US" sz="1400" dirty="0"/>
              <a:t>We have several types of environment variables and ways we can use them:</a:t>
            </a:r>
          </a:p>
          <a:p>
            <a:pPr marL="879872" lvl="3" indent="-342900">
              <a:buFont typeface="+mj-lt"/>
              <a:buAutoNum type="arabicPeriod"/>
            </a:pPr>
            <a:r>
              <a:rPr lang="en-US" sz="1400" dirty="0"/>
              <a:t>SYSTEM level defined EV:</a:t>
            </a:r>
          </a:p>
          <a:p>
            <a:pPr marL="979884" lvl="4" indent="-171450">
              <a:buFont typeface="Wingdings" panose="05000000000000000000" pitchFamily="2" charset="2"/>
              <a:buChar char="§"/>
            </a:pPr>
            <a:r>
              <a:rPr lang="en-US" sz="1100" dirty="0"/>
              <a:t>Available on </a:t>
            </a:r>
            <a:r>
              <a:rPr lang="en-US" sz="1100" i="1" dirty="0">
                <a:hlinkClick r:id="rId2"/>
              </a:rPr>
              <a:t>http://localhost:9000/env-vars.html/</a:t>
            </a:r>
            <a:endParaRPr lang="en-US" sz="1100" i="1" dirty="0"/>
          </a:p>
          <a:p>
            <a:pPr marL="879872" lvl="3" indent="-342900">
              <a:buFont typeface="+mj-lt"/>
              <a:buAutoNum type="arabicPeriod"/>
            </a:pPr>
            <a:r>
              <a:rPr lang="en-US" sz="1400" dirty="0"/>
              <a:t>PIPELINE level defined EV:</a:t>
            </a:r>
          </a:p>
          <a:p>
            <a:pPr marL="979884" lvl="4" indent="-171450">
              <a:buFont typeface="Wingdings" panose="05000000000000000000" pitchFamily="2" charset="2"/>
              <a:buChar char="§"/>
            </a:pPr>
            <a:r>
              <a:rPr lang="en-US" sz="1100" dirty="0"/>
              <a:t>Enclosed within </a:t>
            </a:r>
            <a:r>
              <a:rPr lang="en-US" sz="1100" i="1" u="sng" dirty="0"/>
              <a:t>“environment {}”</a:t>
            </a:r>
            <a:r>
              <a:rPr lang="en-US" sz="1100" b="1" dirty="0"/>
              <a:t> </a:t>
            </a:r>
            <a:r>
              <a:rPr lang="en-US" sz="1100" dirty="0"/>
              <a:t>block </a:t>
            </a:r>
          </a:p>
          <a:p>
            <a:pPr marL="979884" lvl="4" indent="-171450">
              <a:buFont typeface="Wingdings" panose="05000000000000000000" pitchFamily="2" charset="2"/>
              <a:buChar char="§"/>
            </a:pPr>
            <a:r>
              <a:rPr lang="en-US" sz="1100" dirty="0"/>
              <a:t>This EV are available for use in all stages and steps within pipeline.</a:t>
            </a:r>
          </a:p>
          <a:p>
            <a:pPr marL="879872" lvl="3" indent="-342900">
              <a:buFont typeface="+mj-lt"/>
              <a:buAutoNum type="arabicPeriod"/>
            </a:pPr>
            <a:r>
              <a:rPr lang="en-US" sz="1400" dirty="0"/>
              <a:t>STAGE level defined EV:</a:t>
            </a:r>
          </a:p>
          <a:p>
            <a:pPr marL="979884" lvl="4" indent="-171450">
              <a:buFont typeface="Wingdings" panose="05000000000000000000" pitchFamily="2" charset="2"/>
              <a:buChar char="§"/>
            </a:pPr>
            <a:r>
              <a:rPr lang="en-US" sz="1100" dirty="0"/>
              <a:t>Also Enclosed within </a:t>
            </a:r>
            <a:r>
              <a:rPr lang="en-US" sz="1100" i="1" u="sng" dirty="0"/>
              <a:t>“environment {}”</a:t>
            </a:r>
            <a:r>
              <a:rPr lang="en-US" sz="1100" b="1" dirty="0"/>
              <a:t> </a:t>
            </a:r>
            <a:r>
              <a:rPr lang="en-US" sz="1100" dirty="0"/>
              <a:t>block, but within specific stage</a:t>
            </a:r>
          </a:p>
          <a:p>
            <a:pPr marL="979884" lvl="4" indent="-171450">
              <a:buFont typeface="Wingdings" panose="05000000000000000000" pitchFamily="2" charset="2"/>
              <a:buChar char="§"/>
            </a:pPr>
            <a:r>
              <a:rPr lang="en-US" sz="1100" dirty="0"/>
              <a:t>This EV are available for use just in that specific stage.</a:t>
            </a:r>
          </a:p>
          <a:p>
            <a:pPr marL="708422" lvl="3" indent="-171450">
              <a:buFont typeface="Wingdings" panose="05000000000000000000" pitchFamily="2" charset="2"/>
              <a:buChar char="§"/>
            </a:pPr>
            <a:endParaRPr lang="en-US" sz="11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74606"/>
            <a:ext cx="8568952" cy="480920"/>
          </a:xfrm>
        </p:spPr>
        <p:txBody>
          <a:bodyPr anchor="ctr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dirty="0"/>
              <a:t>Jenkins pipeline – environment variables </a:t>
            </a:r>
            <a:endParaRPr lang="en-US" b="0" i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8A8C40B-9933-4842-925C-1685AB340677}" type="datetime3">
              <a:rPr lang="en-US">
                <a:solidFill>
                  <a:srgbClr val="000000"/>
                </a:solidFill>
                <a:latin typeface="Arial"/>
              </a:rPr>
              <a:pPr defTabSz="685800"/>
              <a:t>3 April 2022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ADA48181-2C78-49CB-8C52-912A07842C2E}" type="slidenum">
              <a:rPr lang="en-US">
                <a:solidFill>
                  <a:srgbClr val="000000"/>
                </a:solidFill>
                <a:latin typeface="Arial"/>
              </a:rPr>
              <a:pPr defTabSz="685800"/>
              <a:t>9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r>
              <a:rPr lang="en-US" dirty="0">
                <a:solidFill>
                  <a:srgbClr val="000000"/>
                </a:solidFill>
                <a:latin typeface="Arial"/>
              </a:rPr>
              <a:t>Florentina Catan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4653032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Third-Party Confidenti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c578dcd-9022-490b-9a66-29e8477331e6"/>
  <p:tag name="MIO_EK" val="16331"/>
  <p:tag name="MIO_UPDATE" val="True"/>
  <p:tag name="MIO_VERSION" val="24.08.2018 16:48:17"/>
  <p:tag name="MIO_DBID" val="ED9FF2F2-6643-46BA-B685-7D49126FFAFF"/>
  <p:tag name="MIO_LASTDOWNLOADED" val="12.09.2018 09:50:34"/>
  <p:tag name="MIO_OBJECTNAME" val="CVAM 4x3 Shaded area only"/>
  <p:tag name="MIO_LASTEDITORNAME" val="(Leon Kirchner_ext)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4"/>
  <p:tag name="MIO_SHOW_DATE" val="True"/>
  <p:tag name="MIO_SHOW_FOOTER" val="True"/>
  <p:tag name="MIO_SHOW_PAGENUMBER" val="True"/>
  <p:tag name="MIO_AVOID_BLANK_LAYOUT" val="Fals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30.06.2017 15:29:39"/>
  <p:tag name="MIO_DBID" val="ED9FF2F2-6643-46BA-B685-7D49126FFAFF"/>
  <p:tag name="MIO_LASTDOWNLOADED" val="10.07.2017 14:56:51"/>
  <p:tag name="MIO_OBJECTNAME" val="Automotive, 16x9"/>
  <p:tag name="MIO_LASTEDITORNAME" val="Leon Kirchner_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15.02.2018 16:15:32"/>
  <p:tag name="MIO_DBID" val="ED9FF2F2-6643-46BA-B685-7D49126FFAFF"/>
  <p:tag name="MIO_LASTDOWNLOADED" val="16.10.2018 11:06:26"/>
  <p:tag name="MIO_OBJECTNAME" val="Automotive, 16x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heme/theme1.xml><?xml version="1.0" encoding="utf-8"?>
<a:theme xmlns:a="http://schemas.openxmlformats.org/drawingml/2006/main" name="Continental AG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ontinental_PPT_Master_4x3_CVAM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6</Words>
  <Application>Microsoft Office PowerPoint</Application>
  <PresentationFormat>On-screen Show (16:9)</PresentationFormat>
  <Paragraphs>127</Paragraphs>
  <Slides>1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Helv</vt:lpstr>
      <vt:lpstr>Verdana Pro SemiBold</vt:lpstr>
      <vt:lpstr>Wingdings</vt:lpstr>
      <vt:lpstr>Continental AG, 16x9</vt:lpstr>
      <vt:lpstr>Continental_PPT_Master_4x3_CVAM</vt:lpstr>
      <vt:lpstr>Jenkins Workshop  Introduction</vt:lpstr>
      <vt:lpstr>Jenkins - extended Job features </vt:lpstr>
      <vt:lpstr>Recap of part One of Jenkins workshop</vt:lpstr>
      <vt:lpstr>PowerPoint Presentation</vt:lpstr>
      <vt:lpstr>Freestyle Job - Simple (Basic) scenario</vt:lpstr>
      <vt:lpstr>Freestyle Job – GIT integration</vt:lpstr>
      <vt:lpstr>PowerPoint Presentation</vt:lpstr>
      <vt:lpstr>Jenkins Apache groovy</vt:lpstr>
      <vt:lpstr>Jenkins pipeline – environment variables </vt:lpstr>
      <vt:lpstr>Jenkins Pipeline Successive Jobs - build than test</vt:lpstr>
      <vt:lpstr>Master to Client/Slave Jenkins instances</vt:lpstr>
      <vt:lpstr>Sourcing Remote Jenkins file</vt:lpstr>
      <vt:lpstr>Docker intro</vt:lpstr>
      <vt:lpstr>Docker Job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VS AE, Verification and Validation</dc:title>
  <dc:creator>Catan, Florentina</dc:creator>
  <cp:lastModifiedBy>Samardzic, Nenad (uia66114)</cp:lastModifiedBy>
  <cp:revision>65</cp:revision>
  <dcterms:created xsi:type="dcterms:W3CDTF">2021-01-25T13:32:04Z</dcterms:created>
  <dcterms:modified xsi:type="dcterms:W3CDTF">2022-04-03T22:42:13Z</dcterms:modified>
</cp:coreProperties>
</file>